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0"/>
  </p:notesMasterIdLst>
  <p:sldIdLst>
    <p:sldId id="1442" r:id="rId2"/>
    <p:sldId id="1512" r:id="rId3"/>
    <p:sldId id="1513" r:id="rId4"/>
    <p:sldId id="1514" r:id="rId5"/>
    <p:sldId id="1516" r:id="rId6"/>
    <p:sldId id="1517" r:id="rId7"/>
    <p:sldId id="1518" r:id="rId8"/>
    <p:sldId id="1519" r:id="rId9"/>
    <p:sldId id="1520" r:id="rId10"/>
    <p:sldId id="1521" r:id="rId11"/>
    <p:sldId id="1522" r:id="rId12"/>
    <p:sldId id="1523" r:id="rId13"/>
    <p:sldId id="1524" r:id="rId14"/>
    <p:sldId id="1525" r:id="rId15"/>
    <p:sldId id="1526" r:id="rId16"/>
    <p:sldId id="1528" r:id="rId17"/>
    <p:sldId id="1515" r:id="rId18"/>
    <p:sldId id="148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111" d="100"/>
          <a:sy n="111" d="100"/>
        </p:scale>
        <p:origin x="600" y="96"/>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JacquesM\Documents\Flatscreen%20Data\Cattle\Prices\Cattle,%20Weekly%20prices.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xPr>
        <a:bodyPr/>
        <a:lstStyle/>
        <a:p>
          <a:pPr>
            <a:defRPr sz="1800" b="1" i="0" u="none" strike="noStrike" baseline="0">
              <a:solidFill>
                <a:srgbClr val="000000"/>
              </a:solidFill>
              <a:latin typeface="Calibri"/>
              <a:ea typeface="Calibri"/>
              <a:cs typeface="Calibri"/>
            </a:defRPr>
          </a:pPr>
          <a:endParaRPr lang="en-US"/>
        </a:p>
      </c:txPr>
    </c:title>
    <c:autoTitleDeleted val="0"/>
    <c:plotArea>
      <c:layout/>
      <c:lineChart>
        <c:grouping val="standard"/>
        <c:varyColors val="0"/>
        <c:ser>
          <c:idx val="6"/>
          <c:order val="0"/>
          <c:tx>
            <c:strRef>
              <c:f>Summary!$H$3</c:f>
              <c:strCache>
                <c:ptCount val="1"/>
                <c:pt idx="0">
                  <c:v>Heifers&lt;200kg</c:v>
                </c:pt>
              </c:strCache>
            </c:strRef>
          </c:tx>
          <c:spPr>
            <a:ln w="12700">
              <a:solidFill>
                <a:schemeClr val="tx1"/>
              </a:solidFill>
            </a:ln>
          </c:spPr>
          <c:marker>
            <c:symbol val="none"/>
          </c:marker>
          <c:cat>
            <c:numRef>
              <c:f>Summary!$B$4:$B$828</c:f>
              <c:numCache>
                <c:formatCode>General</c:formatCode>
                <c:ptCount val="825"/>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H$4:$H$810</c:f>
              <c:numCache>
                <c:formatCode>0.00</c:formatCode>
                <c:ptCount val="807"/>
                <c:pt idx="0">
                  <c:v>16.43</c:v>
                </c:pt>
                <c:pt idx="1">
                  <c:v>16.25</c:v>
                </c:pt>
                <c:pt idx="2">
                  <c:v>16.96</c:v>
                </c:pt>
                <c:pt idx="3">
                  <c:v>16.21</c:v>
                </c:pt>
                <c:pt idx="4">
                  <c:v>16.66</c:v>
                </c:pt>
                <c:pt idx="5">
                  <c:v>16.13</c:v>
                </c:pt>
                <c:pt idx="6">
                  <c:v>13.44</c:v>
                </c:pt>
                <c:pt idx="7">
                  <c:v>15.7</c:v>
                </c:pt>
                <c:pt idx="8">
                  <c:v>15.65</c:v>
                </c:pt>
                <c:pt idx="9">
                  <c:v>15.34</c:v>
                </c:pt>
                <c:pt idx="10">
                  <c:v>15.73</c:v>
                </c:pt>
                <c:pt idx="11">
                  <c:v>15.88</c:v>
                </c:pt>
                <c:pt idx="12">
                  <c:v>16.059999999999999</c:v>
                </c:pt>
                <c:pt idx="13">
                  <c:v>15.76</c:v>
                </c:pt>
                <c:pt idx="14">
                  <c:v>15.75</c:v>
                </c:pt>
                <c:pt idx="15">
                  <c:v>15.56</c:v>
                </c:pt>
                <c:pt idx="16">
                  <c:v>16.63</c:v>
                </c:pt>
                <c:pt idx="17">
                  <c:v>15.6</c:v>
                </c:pt>
                <c:pt idx="18">
                  <c:v>16.149999999999999</c:v>
                </c:pt>
                <c:pt idx="19">
                  <c:v>16.670000000000002</c:v>
                </c:pt>
                <c:pt idx="20">
                  <c:v>16.329999999999998</c:v>
                </c:pt>
                <c:pt idx="21">
                  <c:v>16.07</c:v>
                </c:pt>
                <c:pt idx="22">
                  <c:v>15.99</c:v>
                </c:pt>
                <c:pt idx="23">
                  <c:v>15.7</c:v>
                </c:pt>
                <c:pt idx="24">
                  <c:v>15.9</c:v>
                </c:pt>
                <c:pt idx="25">
                  <c:v>16.39</c:v>
                </c:pt>
                <c:pt idx="26">
                  <c:v>15.7</c:v>
                </c:pt>
                <c:pt idx="27">
                  <c:v>16.13</c:v>
                </c:pt>
                <c:pt idx="28">
                  <c:v>15.88</c:v>
                </c:pt>
                <c:pt idx="29">
                  <c:v>16.059999999999999</c:v>
                </c:pt>
                <c:pt idx="30">
                  <c:v>16.2</c:v>
                </c:pt>
                <c:pt idx="31">
                  <c:v>16.260000000000002</c:v>
                </c:pt>
                <c:pt idx="32">
                  <c:v>15.53</c:v>
                </c:pt>
                <c:pt idx="33">
                  <c:v>16.46</c:v>
                </c:pt>
                <c:pt idx="34">
                  <c:v>16.510000000000002</c:v>
                </c:pt>
                <c:pt idx="35">
                  <c:v>17.010000000000002</c:v>
                </c:pt>
                <c:pt idx="36">
                  <c:v>16.440000000000001</c:v>
                </c:pt>
                <c:pt idx="37">
                  <c:v>16.59</c:v>
                </c:pt>
                <c:pt idx="38">
                  <c:v>16.52</c:v>
                </c:pt>
                <c:pt idx="39">
                  <c:v>16.559999999999999</c:v>
                </c:pt>
                <c:pt idx="40">
                  <c:v>16.71</c:v>
                </c:pt>
                <c:pt idx="41">
                  <c:v>16.86</c:v>
                </c:pt>
                <c:pt idx="42">
                  <c:v>16.940000000000001</c:v>
                </c:pt>
                <c:pt idx="43">
                  <c:v>18.09</c:v>
                </c:pt>
                <c:pt idx="44">
                  <c:v>17.62</c:v>
                </c:pt>
                <c:pt idx="45">
                  <c:v>18.75</c:v>
                </c:pt>
                <c:pt idx="46">
                  <c:v>19.079999999999998</c:v>
                </c:pt>
                <c:pt idx="47">
                  <c:v>18.920000000000002</c:v>
                </c:pt>
                <c:pt idx="48">
                  <c:v>19.489999999999998</c:v>
                </c:pt>
                <c:pt idx="49">
                  <c:v>19.72</c:v>
                </c:pt>
                <c:pt idx="50">
                  <c:v>19.260000000000002</c:v>
                </c:pt>
                <c:pt idx="51">
                  <c:v>19.86</c:v>
                </c:pt>
                <c:pt idx="52">
                  <c:v>19.02</c:v>
                </c:pt>
                <c:pt idx="53">
                  <c:v>18.059999999999999</c:v>
                </c:pt>
                <c:pt idx="54">
                  <c:v>18.57</c:v>
                </c:pt>
                <c:pt idx="55">
                  <c:v>18.71</c:v>
                </c:pt>
                <c:pt idx="56">
                  <c:v>17.87</c:v>
                </c:pt>
                <c:pt idx="57">
                  <c:v>18.37</c:v>
                </c:pt>
                <c:pt idx="58">
                  <c:v>17.79</c:v>
                </c:pt>
                <c:pt idx="59">
                  <c:v>17.96</c:v>
                </c:pt>
                <c:pt idx="60">
                  <c:v>18.57</c:v>
                </c:pt>
                <c:pt idx="61">
                  <c:v>18.579999999999998</c:v>
                </c:pt>
                <c:pt idx="62">
                  <c:v>18.350000000000001</c:v>
                </c:pt>
                <c:pt idx="63">
                  <c:v>18.989999999999998</c:v>
                </c:pt>
                <c:pt idx="64">
                  <c:v>19.100000000000001</c:v>
                </c:pt>
                <c:pt idx="65">
                  <c:v>18.23</c:v>
                </c:pt>
                <c:pt idx="66">
                  <c:v>18.440000000000001</c:v>
                </c:pt>
                <c:pt idx="67">
                  <c:v>18.28</c:v>
                </c:pt>
                <c:pt idx="68">
                  <c:v>18.21</c:v>
                </c:pt>
                <c:pt idx="69">
                  <c:v>17.850000000000001</c:v>
                </c:pt>
                <c:pt idx="70">
                  <c:v>18.350000000000001</c:v>
                </c:pt>
                <c:pt idx="71">
                  <c:v>18.899999999999999</c:v>
                </c:pt>
                <c:pt idx="72">
                  <c:v>18.68</c:v>
                </c:pt>
                <c:pt idx="73">
                  <c:v>21</c:v>
                </c:pt>
                <c:pt idx="74">
                  <c:v>21.15</c:v>
                </c:pt>
                <c:pt idx="75">
                  <c:v>20.07</c:v>
                </c:pt>
                <c:pt idx="76">
                  <c:v>20.07</c:v>
                </c:pt>
                <c:pt idx="77">
                  <c:v>20.59</c:v>
                </c:pt>
                <c:pt idx="78">
                  <c:v>20.010000000000002</c:v>
                </c:pt>
                <c:pt idx="79">
                  <c:v>20.14</c:v>
                </c:pt>
                <c:pt idx="80">
                  <c:v>20.309999999999999</c:v>
                </c:pt>
                <c:pt idx="81">
                  <c:v>20.53</c:v>
                </c:pt>
                <c:pt idx="82">
                  <c:v>20.63</c:v>
                </c:pt>
                <c:pt idx="83">
                  <c:v>21.69</c:v>
                </c:pt>
                <c:pt idx="84">
                  <c:v>23.11</c:v>
                </c:pt>
                <c:pt idx="85">
                  <c:v>21.42</c:v>
                </c:pt>
                <c:pt idx="86">
                  <c:v>23.75</c:v>
                </c:pt>
                <c:pt idx="87">
                  <c:v>22.96</c:v>
                </c:pt>
                <c:pt idx="88">
                  <c:v>23.26</c:v>
                </c:pt>
                <c:pt idx="89">
                  <c:v>23.25</c:v>
                </c:pt>
                <c:pt idx="90">
                  <c:v>22.67</c:v>
                </c:pt>
                <c:pt idx="91">
                  <c:v>22.16</c:v>
                </c:pt>
                <c:pt idx="92">
                  <c:v>22.7</c:v>
                </c:pt>
                <c:pt idx="93">
                  <c:v>22.99</c:v>
                </c:pt>
                <c:pt idx="94">
                  <c:v>23.27</c:v>
                </c:pt>
                <c:pt idx="95">
                  <c:v>21.65</c:v>
                </c:pt>
                <c:pt idx="96">
                  <c:v>21.6</c:v>
                </c:pt>
                <c:pt idx="97">
                  <c:v>21.31</c:v>
                </c:pt>
                <c:pt idx="98">
                  <c:v>19.809999999999999</c:v>
                </c:pt>
                <c:pt idx="99">
                  <c:v>19.41</c:v>
                </c:pt>
                <c:pt idx="100">
                  <c:v>18.88</c:v>
                </c:pt>
                <c:pt idx="101">
                  <c:v>17.739999999999998</c:v>
                </c:pt>
                <c:pt idx="102">
                  <c:v>16.39</c:v>
                </c:pt>
                <c:pt idx="103">
                  <c:v>16.829999999999998</c:v>
                </c:pt>
                <c:pt idx="104">
                  <c:v>16.46</c:v>
                </c:pt>
                <c:pt idx="105" formatCode="General">
                  <c:v>16.59</c:v>
                </c:pt>
                <c:pt idx="106" formatCode="General">
                  <c:v>16.95</c:v>
                </c:pt>
                <c:pt idx="107" formatCode="General">
                  <c:v>16.059999999999999</c:v>
                </c:pt>
                <c:pt idx="108" formatCode="General">
                  <c:v>16.010000000000002</c:v>
                </c:pt>
                <c:pt idx="109" formatCode="General">
                  <c:v>17.32</c:v>
                </c:pt>
                <c:pt idx="110" formatCode="General">
                  <c:v>16.72</c:v>
                </c:pt>
                <c:pt idx="111" formatCode="General">
                  <c:v>16.59</c:v>
                </c:pt>
                <c:pt idx="112" formatCode="General">
                  <c:v>15.47</c:v>
                </c:pt>
                <c:pt idx="113" formatCode="General">
                  <c:v>16.77</c:v>
                </c:pt>
                <c:pt idx="114" formatCode="General">
                  <c:v>16.2</c:v>
                </c:pt>
                <c:pt idx="115" formatCode="General">
                  <c:v>16.07</c:v>
                </c:pt>
                <c:pt idx="116" formatCode="General">
                  <c:v>16.04</c:v>
                </c:pt>
                <c:pt idx="117" formatCode="General">
                  <c:v>16.149999999999999</c:v>
                </c:pt>
                <c:pt idx="118" formatCode="General">
                  <c:v>15.7</c:v>
                </c:pt>
                <c:pt idx="119" formatCode="General">
                  <c:v>15.65</c:v>
                </c:pt>
                <c:pt idx="120" formatCode="General">
                  <c:v>15.78</c:v>
                </c:pt>
                <c:pt idx="121" formatCode="General">
                  <c:v>15.95</c:v>
                </c:pt>
                <c:pt idx="122" formatCode="General">
                  <c:v>17.41</c:v>
                </c:pt>
                <c:pt idx="123" formatCode="General">
                  <c:v>16.89</c:v>
                </c:pt>
                <c:pt idx="124" formatCode="General">
                  <c:v>16.95</c:v>
                </c:pt>
                <c:pt idx="125" formatCode="General">
                  <c:v>16.98</c:v>
                </c:pt>
                <c:pt idx="126" formatCode="General">
                  <c:v>17.16</c:v>
                </c:pt>
                <c:pt idx="127" formatCode="General">
                  <c:v>17.59</c:v>
                </c:pt>
                <c:pt idx="128" formatCode="General">
                  <c:v>17.78</c:v>
                </c:pt>
                <c:pt idx="129" formatCode="General">
                  <c:v>17.809999999999999</c:v>
                </c:pt>
                <c:pt idx="130" formatCode="General">
                  <c:v>17.600000000000001</c:v>
                </c:pt>
                <c:pt idx="131" formatCode="General">
                  <c:v>16.260000000000002</c:v>
                </c:pt>
                <c:pt idx="132" formatCode="General">
                  <c:v>17.559999999999999</c:v>
                </c:pt>
                <c:pt idx="133">
                  <c:v>17.46</c:v>
                </c:pt>
                <c:pt idx="134">
                  <c:v>18.54</c:v>
                </c:pt>
                <c:pt idx="135">
                  <c:v>17.899999999999999</c:v>
                </c:pt>
                <c:pt idx="136">
                  <c:v>18.850000000000001</c:v>
                </c:pt>
                <c:pt idx="137">
                  <c:v>16.41</c:v>
                </c:pt>
                <c:pt idx="138">
                  <c:v>17.87</c:v>
                </c:pt>
                <c:pt idx="139">
                  <c:v>17.09</c:v>
                </c:pt>
                <c:pt idx="140">
                  <c:v>17.600000000000001</c:v>
                </c:pt>
                <c:pt idx="141">
                  <c:v>17.68</c:v>
                </c:pt>
                <c:pt idx="142">
                  <c:v>17.86</c:v>
                </c:pt>
                <c:pt idx="143">
                  <c:v>18.12</c:v>
                </c:pt>
                <c:pt idx="144">
                  <c:v>17.600000000000001</c:v>
                </c:pt>
                <c:pt idx="145">
                  <c:v>17.23</c:v>
                </c:pt>
                <c:pt idx="146">
                  <c:v>16.84</c:v>
                </c:pt>
                <c:pt idx="147">
                  <c:v>17.03</c:v>
                </c:pt>
                <c:pt idx="148">
                  <c:v>17.260000000000002</c:v>
                </c:pt>
                <c:pt idx="149">
                  <c:v>16.16</c:v>
                </c:pt>
                <c:pt idx="150">
                  <c:v>16.23</c:v>
                </c:pt>
                <c:pt idx="151">
                  <c:v>17.82</c:v>
                </c:pt>
                <c:pt idx="152">
                  <c:v>15.71</c:v>
                </c:pt>
                <c:pt idx="153">
                  <c:v>15.4</c:v>
                </c:pt>
                <c:pt idx="154">
                  <c:v>15.48</c:v>
                </c:pt>
                <c:pt idx="155">
                  <c:v>15.67</c:v>
                </c:pt>
                <c:pt idx="156">
                  <c:v>15.64</c:v>
                </c:pt>
                <c:pt idx="157">
                  <c:v>16.52</c:v>
                </c:pt>
                <c:pt idx="158">
                  <c:v>17.100000000000001</c:v>
                </c:pt>
                <c:pt idx="159">
                  <c:v>16.62</c:v>
                </c:pt>
                <c:pt idx="160">
                  <c:v>16.329999999999998</c:v>
                </c:pt>
                <c:pt idx="161">
                  <c:v>16.059999999999999</c:v>
                </c:pt>
                <c:pt idx="162">
                  <c:v>15.74</c:v>
                </c:pt>
                <c:pt idx="163" formatCode="General">
                  <c:v>15.79</c:v>
                </c:pt>
                <c:pt idx="164" formatCode="General">
                  <c:v>15.96</c:v>
                </c:pt>
                <c:pt idx="165">
                  <c:v>15.4</c:v>
                </c:pt>
                <c:pt idx="166">
                  <c:v>15.28</c:v>
                </c:pt>
                <c:pt idx="167">
                  <c:v>16.03</c:v>
                </c:pt>
                <c:pt idx="168">
                  <c:v>15.84</c:v>
                </c:pt>
                <c:pt idx="169">
                  <c:v>16.38</c:v>
                </c:pt>
                <c:pt idx="170">
                  <c:v>16.89</c:v>
                </c:pt>
                <c:pt idx="171">
                  <c:v>15.61</c:v>
                </c:pt>
                <c:pt idx="172">
                  <c:v>16.670000000000002</c:v>
                </c:pt>
                <c:pt idx="173">
                  <c:v>15.94</c:v>
                </c:pt>
                <c:pt idx="174">
                  <c:v>16.489999999999998</c:v>
                </c:pt>
                <c:pt idx="175">
                  <c:v>15.9</c:v>
                </c:pt>
                <c:pt idx="176">
                  <c:v>16.420000000000002</c:v>
                </c:pt>
                <c:pt idx="177">
                  <c:v>16.190000000000001</c:v>
                </c:pt>
                <c:pt idx="178">
                  <c:v>16.12</c:v>
                </c:pt>
                <c:pt idx="179">
                  <c:v>16.059999999999999</c:v>
                </c:pt>
                <c:pt idx="180">
                  <c:v>16.46</c:v>
                </c:pt>
                <c:pt idx="181">
                  <c:v>16.73</c:v>
                </c:pt>
                <c:pt idx="182">
                  <c:v>16.27</c:v>
                </c:pt>
                <c:pt idx="183">
                  <c:v>16.63</c:v>
                </c:pt>
                <c:pt idx="184">
                  <c:v>16.82</c:v>
                </c:pt>
                <c:pt idx="185">
                  <c:v>16.829999999999998</c:v>
                </c:pt>
                <c:pt idx="186">
                  <c:v>17.91</c:v>
                </c:pt>
                <c:pt idx="187">
                  <c:v>17.12</c:v>
                </c:pt>
                <c:pt idx="188">
                  <c:v>16.95</c:v>
                </c:pt>
                <c:pt idx="189">
                  <c:v>16.88</c:v>
                </c:pt>
                <c:pt idx="190">
                  <c:v>16.61</c:v>
                </c:pt>
                <c:pt idx="191">
                  <c:v>16.93</c:v>
                </c:pt>
                <c:pt idx="192" formatCode="#,##0.00">
                  <c:v>17.52</c:v>
                </c:pt>
                <c:pt idx="193" formatCode="#,##0.00">
                  <c:v>17.09</c:v>
                </c:pt>
                <c:pt idx="194" formatCode="#,##0.00">
                  <c:v>17.48</c:v>
                </c:pt>
                <c:pt idx="195" formatCode="#,##0.00">
                  <c:v>16.43</c:v>
                </c:pt>
                <c:pt idx="196" formatCode="#,##0.00">
                  <c:v>16.87</c:v>
                </c:pt>
                <c:pt idx="197" formatCode="#,##0.00">
                  <c:v>17.2</c:v>
                </c:pt>
                <c:pt idx="198" formatCode="#,##0.00">
                  <c:v>17.489999999999998</c:v>
                </c:pt>
                <c:pt idx="199" formatCode="#,##0.00">
                  <c:v>16.78</c:v>
                </c:pt>
                <c:pt idx="200" formatCode="#,##0.00">
                  <c:v>17.12</c:v>
                </c:pt>
                <c:pt idx="201" formatCode="#,##0.00">
                  <c:v>17.96</c:v>
                </c:pt>
                <c:pt idx="202" formatCode="#,##0.00">
                  <c:v>17.600000000000001</c:v>
                </c:pt>
                <c:pt idx="203" formatCode="#,##0.00">
                  <c:v>17.920000000000002</c:v>
                </c:pt>
                <c:pt idx="204" formatCode="#,##0.00">
                  <c:v>17.84</c:v>
                </c:pt>
                <c:pt idx="205" formatCode="#,##0.00">
                  <c:v>17.920000000000002</c:v>
                </c:pt>
                <c:pt idx="206" formatCode="#,##0.00">
                  <c:v>17.57</c:v>
                </c:pt>
                <c:pt idx="207" formatCode="#,##0.00">
                  <c:v>17.690000000000001</c:v>
                </c:pt>
                <c:pt idx="208" formatCode="#,##0.00">
                  <c:v>16.93</c:v>
                </c:pt>
                <c:pt idx="209" formatCode="#,##0.00">
                  <c:v>17.170000000000002</c:v>
                </c:pt>
                <c:pt idx="210" formatCode="#,##0.00">
                  <c:v>16.59</c:v>
                </c:pt>
                <c:pt idx="211" formatCode="#,##0.00">
                  <c:v>17.02</c:v>
                </c:pt>
                <c:pt idx="212" formatCode="#,##0.00">
                  <c:v>16.5</c:v>
                </c:pt>
                <c:pt idx="213" formatCode="#,##0.00">
                  <c:v>17.5</c:v>
                </c:pt>
                <c:pt idx="214" formatCode="#,##0.00">
                  <c:v>18.02</c:v>
                </c:pt>
                <c:pt idx="215" formatCode="#,##0.00">
                  <c:v>17.86</c:v>
                </c:pt>
                <c:pt idx="216" formatCode="#,##0.00">
                  <c:v>18.170000000000002</c:v>
                </c:pt>
                <c:pt idx="217" formatCode="#,##0.00">
                  <c:v>17.18</c:v>
                </c:pt>
                <c:pt idx="218" formatCode="#,##0.00">
                  <c:v>18.309999999999999</c:v>
                </c:pt>
                <c:pt idx="219" formatCode="#,##0.00">
                  <c:v>18.73</c:v>
                </c:pt>
                <c:pt idx="220" formatCode="#,##0.00">
                  <c:v>18.71</c:v>
                </c:pt>
                <c:pt idx="221" formatCode="#,##0.00">
                  <c:v>18.760000000000002</c:v>
                </c:pt>
                <c:pt idx="222" formatCode="#,##0.00">
                  <c:v>19.27</c:v>
                </c:pt>
                <c:pt idx="223" formatCode="#,##0.00">
                  <c:v>24.1</c:v>
                </c:pt>
                <c:pt idx="224" formatCode="#,##0.00">
                  <c:v>19.7</c:v>
                </c:pt>
                <c:pt idx="225" formatCode="General">
                  <c:v>19.71</c:v>
                </c:pt>
                <c:pt idx="226" formatCode="#,##0.00">
                  <c:v>19.39</c:v>
                </c:pt>
                <c:pt idx="227" formatCode="#,##0.00">
                  <c:v>19.37</c:v>
                </c:pt>
                <c:pt idx="228" formatCode="#,##0.00">
                  <c:v>19.55</c:v>
                </c:pt>
                <c:pt idx="229" formatCode="#,##0.00">
                  <c:v>19.420000000000002</c:v>
                </c:pt>
                <c:pt idx="230" formatCode="#,##0.00">
                  <c:v>19.649999999999999</c:v>
                </c:pt>
                <c:pt idx="231" formatCode="#,##0.00">
                  <c:v>19.63</c:v>
                </c:pt>
                <c:pt idx="232" formatCode="#,##0.00">
                  <c:v>20.79</c:v>
                </c:pt>
                <c:pt idx="233" formatCode="#,##0.00">
                  <c:v>20.399999999999999</c:v>
                </c:pt>
                <c:pt idx="234" formatCode="#,##0.00">
                  <c:v>20.96</c:v>
                </c:pt>
                <c:pt idx="235" formatCode="#,##0.00">
                  <c:v>20.97</c:v>
                </c:pt>
                <c:pt idx="236" formatCode="#,##0.00">
                  <c:v>21.35</c:v>
                </c:pt>
                <c:pt idx="237" formatCode="#,##0.00">
                  <c:v>21.96</c:v>
                </c:pt>
                <c:pt idx="238" formatCode="#,##0.00">
                  <c:v>21.33</c:v>
                </c:pt>
                <c:pt idx="239" formatCode="#,##0.00">
                  <c:v>21.51</c:v>
                </c:pt>
                <c:pt idx="240" formatCode="#,##0.00">
                  <c:v>20.79</c:v>
                </c:pt>
                <c:pt idx="241" formatCode="#,##0.00">
                  <c:v>21.65</c:v>
                </c:pt>
                <c:pt idx="242" formatCode="#,##0.00">
                  <c:v>21.83</c:v>
                </c:pt>
                <c:pt idx="243" formatCode="#,##0.00">
                  <c:v>21.23</c:v>
                </c:pt>
                <c:pt idx="244" formatCode="#,##0.00">
                  <c:v>20.89</c:v>
                </c:pt>
                <c:pt idx="245" formatCode="#,##0.00">
                  <c:v>21.1</c:v>
                </c:pt>
                <c:pt idx="246" formatCode="#,##0.00">
                  <c:v>20.079999999999998</c:v>
                </c:pt>
                <c:pt idx="247" formatCode="#,##0.00">
                  <c:v>19.399999999999999</c:v>
                </c:pt>
                <c:pt idx="248" formatCode="#,##0.00">
                  <c:v>18.78</c:v>
                </c:pt>
                <c:pt idx="249" formatCode="#,##0.00">
                  <c:v>19.27</c:v>
                </c:pt>
                <c:pt idx="250" formatCode="#,##0.00">
                  <c:v>17.510000000000002</c:v>
                </c:pt>
                <c:pt idx="251" formatCode="#,##0.00">
                  <c:v>18.79</c:v>
                </c:pt>
                <c:pt idx="252" formatCode="#,##0.00">
                  <c:v>19.100000000000001</c:v>
                </c:pt>
                <c:pt idx="253" formatCode="#,##0.00">
                  <c:v>18.940000000000001</c:v>
                </c:pt>
                <c:pt idx="254" formatCode="#,##0.00">
                  <c:v>19.48</c:v>
                </c:pt>
                <c:pt idx="255" formatCode="#,##0.00">
                  <c:v>21.12</c:v>
                </c:pt>
                <c:pt idx="256" formatCode="#,##0.00">
                  <c:v>21.09</c:v>
                </c:pt>
                <c:pt idx="257" formatCode="#,##0.00">
                  <c:v>20.63</c:v>
                </c:pt>
                <c:pt idx="258" formatCode="#,##0.00">
                  <c:v>20.149999999999999</c:v>
                </c:pt>
                <c:pt idx="259" formatCode="#,##0.00">
                  <c:v>19.68</c:v>
                </c:pt>
                <c:pt idx="260" formatCode="#,##0.00">
                  <c:v>19.399999999999999</c:v>
                </c:pt>
                <c:pt idx="261" formatCode="#,##0.00">
                  <c:v>18.71</c:v>
                </c:pt>
                <c:pt idx="262" formatCode="#,##0.00">
                  <c:v>19.16</c:v>
                </c:pt>
                <c:pt idx="263" formatCode="#,##0.00">
                  <c:v>19.649999999999999</c:v>
                </c:pt>
                <c:pt idx="264" formatCode="#,##0.00">
                  <c:v>19.91</c:v>
                </c:pt>
                <c:pt idx="265" formatCode="#,##0.00">
                  <c:v>20.5</c:v>
                </c:pt>
                <c:pt idx="266" formatCode="#,##0.00">
                  <c:v>21.11</c:v>
                </c:pt>
                <c:pt idx="267" formatCode="#,##0.00">
                  <c:v>20.420000000000002</c:v>
                </c:pt>
                <c:pt idx="268" formatCode="#,##0.00">
                  <c:v>20.329999999999998</c:v>
                </c:pt>
                <c:pt idx="269" formatCode="#,##0.00">
                  <c:v>21.43</c:v>
                </c:pt>
                <c:pt idx="270" formatCode="#,##0.00">
                  <c:v>20.93</c:v>
                </c:pt>
                <c:pt idx="271" formatCode="#,##0.00">
                  <c:v>20.6</c:v>
                </c:pt>
                <c:pt idx="272" formatCode="#,##0.00">
                  <c:v>21.11</c:v>
                </c:pt>
                <c:pt idx="273" formatCode="#,##0.00">
                  <c:v>20.21</c:v>
                </c:pt>
                <c:pt idx="274" formatCode="#,##0.00">
                  <c:v>19.78</c:v>
                </c:pt>
                <c:pt idx="275" formatCode="#,##0.00">
                  <c:v>20.88</c:v>
                </c:pt>
                <c:pt idx="276" formatCode="#,##0.00">
                  <c:v>19.760000000000002</c:v>
                </c:pt>
                <c:pt idx="277" formatCode="#,##0.00">
                  <c:v>21.24</c:v>
                </c:pt>
                <c:pt idx="278" formatCode="#,##0.00">
                  <c:v>20.74</c:v>
                </c:pt>
                <c:pt idx="279" formatCode="#,##0.00">
                  <c:v>21.17</c:v>
                </c:pt>
                <c:pt idx="280" formatCode="#,##0.00">
                  <c:v>20.79</c:v>
                </c:pt>
                <c:pt idx="281" formatCode="#,##0.00">
                  <c:v>20.53</c:v>
                </c:pt>
                <c:pt idx="282" formatCode="#,##0.00">
                  <c:v>20.92</c:v>
                </c:pt>
                <c:pt idx="283" formatCode="#,##0.00">
                  <c:v>19.96</c:v>
                </c:pt>
                <c:pt idx="284" formatCode="#,##0.00">
                  <c:v>18.09</c:v>
                </c:pt>
                <c:pt idx="285" formatCode="#,##0.00">
                  <c:v>18.329999999999998</c:v>
                </c:pt>
                <c:pt idx="286" formatCode="#,##0.00">
                  <c:v>18.62</c:v>
                </c:pt>
                <c:pt idx="287" formatCode="#,##0.00">
                  <c:v>19.36</c:v>
                </c:pt>
                <c:pt idx="288" formatCode="#,##0.00">
                  <c:v>18.32</c:v>
                </c:pt>
                <c:pt idx="289" formatCode="#,##0.00">
                  <c:v>18.62</c:v>
                </c:pt>
                <c:pt idx="290" formatCode="#,##0.00">
                  <c:v>18.36</c:v>
                </c:pt>
                <c:pt idx="291" formatCode="#,##0.00">
                  <c:v>19.25</c:v>
                </c:pt>
                <c:pt idx="292" formatCode="#,##0.00">
                  <c:v>20.69</c:v>
                </c:pt>
                <c:pt idx="293" formatCode="#,##0.00">
                  <c:v>21.53</c:v>
                </c:pt>
                <c:pt idx="294" formatCode="#,##0.00">
                  <c:v>21.45</c:v>
                </c:pt>
                <c:pt idx="295" formatCode="#,##0.00">
                  <c:v>21.58</c:v>
                </c:pt>
                <c:pt idx="296" formatCode="#,##0.00">
                  <c:v>20.43</c:v>
                </c:pt>
                <c:pt idx="297" formatCode="#,##0.00">
                  <c:v>19.8</c:v>
                </c:pt>
                <c:pt idx="298" formatCode="#,##0.00">
                  <c:v>19.22</c:v>
                </c:pt>
                <c:pt idx="299" formatCode="#,##0.00">
                  <c:v>19.23</c:v>
                </c:pt>
                <c:pt idx="300" formatCode="#,##0.00">
                  <c:v>19.78</c:v>
                </c:pt>
                <c:pt idx="301" formatCode="#,##0.00">
                  <c:v>19.54</c:v>
                </c:pt>
                <c:pt idx="302" formatCode="#,##0.00">
                  <c:v>19.920000000000002</c:v>
                </c:pt>
                <c:pt idx="303" formatCode="#,##0.00">
                  <c:v>19.71</c:v>
                </c:pt>
                <c:pt idx="304" formatCode="#,##0.00">
                  <c:v>20.23</c:v>
                </c:pt>
                <c:pt idx="305" formatCode="#,##0.00">
                  <c:v>19.46</c:v>
                </c:pt>
                <c:pt idx="306" formatCode="#,##0.00">
                  <c:v>20.52</c:v>
                </c:pt>
                <c:pt idx="307" formatCode="#,##0.00">
                  <c:v>20.09</c:v>
                </c:pt>
                <c:pt idx="308" formatCode="#,##0.00">
                  <c:v>17.510000000000002</c:v>
                </c:pt>
                <c:pt idx="309" formatCode="#,##0.00">
                  <c:v>19.68</c:v>
                </c:pt>
                <c:pt idx="310" formatCode="#,##0.00">
                  <c:v>19.39</c:v>
                </c:pt>
                <c:pt idx="311" formatCode="#,##0.00">
                  <c:v>19.55</c:v>
                </c:pt>
                <c:pt idx="312" formatCode="#,##0.00">
                  <c:v>19.579999999999998</c:v>
                </c:pt>
                <c:pt idx="313" formatCode="#,##0.00">
                  <c:v>19.46</c:v>
                </c:pt>
                <c:pt idx="314" formatCode="#,##0.00">
                  <c:v>19.23</c:v>
                </c:pt>
                <c:pt idx="315" formatCode="#,##0.00">
                  <c:v>19.63</c:v>
                </c:pt>
                <c:pt idx="316" formatCode="#,##0.00">
                  <c:v>20.99</c:v>
                </c:pt>
                <c:pt idx="317" formatCode="#,##0.00">
                  <c:v>20.190000000000001</c:v>
                </c:pt>
                <c:pt idx="318" formatCode="#,##0.00">
                  <c:v>19.559999999999999</c:v>
                </c:pt>
                <c:pt idx="319" formatCode="#,##0.00">
                  <c:v>20.8</c:v>
                </c:pt>
                <c:pt idx="320" formatCode="#,##0.00">
                  <c:v>20.2</c:v>
                </c:pt>
                <c:pt idx="321" formatCode="#,##0.00">
                  <c:v>20.34</c:v>
                </c:pt>
                <c:pt idx="322" formatCode="#,##0.00">
                  <c:v>20.55</c:v>
                </c:pt>
                <c:pt idx="323" formatCode="#,##0.00">
                  <c:v>20.65</c:v>
                </c:pt>
                <c:pt idx="324" formatCode="#,##0.00">
                  <c:v>20.68</c:v>
                </c:pt>
                <c:pt idx="325" formatCode="#,##0.00">
                  <c:v>20.16</c:v>
                </c:pt>
                <c:pt idx="326" formatCode="#,##0.00">
                  <c:v>19.100000000000001</c:v>
                </c:pt>
                <c:pt idx="327" formatCode="#,##0.00">
                  <c:v>20.91</c:v>
                </c:pt>
                <c:pt idx="328" formatCode="#,##0.00">
                  <c:v>20.85</c:v>
                </c:pt>
                <c:pt idx="329" formatCode="#,##0.00">
                  <c:v>20.86</c:v>
                </c:pt>
                <c:pt idx="330" formatCode="#,##0.00">
                  <c:v>20.99</c:v>
                </c:pt>
                <c:pt idx="331" formatCode="#,##0.00">
                  <c:v>20.85</c:v>
                </c:pt>
                <c:pt idx="332" formatCode="#,##0.00">
                  <c:v>21.24</c:v>
                </c:pt>
                <c:pt idx="333" formatCode="#,##0.00">
                  <c:v>22.38</c:v>
                </c:pt>
                <c:pt idx="334" formatCode="#,##0.00">
                  <c:v>23.44</c:v>
                </c:pt>
                <c:pt idx="335" formatCode="#,##0.00">
                  <c:v>23.7</c:v>
                </c:pt>
                <c:pt idx="336" formatCode="#,##0.00">
                  <c:v>22.74</c:v>
                </c:pt>
                <c:pt idx="337" formatCode="#,##0.00">
                  <c:v>23.29</c:v>
                </c:pt>
                <c:pt idx="338" formatCode="#,##0.00">
                  <c:v>24.57</c:v>
                </c:pt>
                <c:pt idx="339" formatCode="#,##0.00">
                  <c:v>25.29</c:v>
                </c:pt>
                <c:pt idx="340" formatCode="#,##0.00">
                  <c:v>26.66</c:v>
                </c:pt>
                <c:pt idx="341" formatCode="#,##0.00">
                  <c:v>26.21</c:v>
                </c:pt>
                <c:pt idx="342" formatCode="#,##0.00">
                  <c:v>26.98</c:v>
                </c:pt>
                <c:pt idx="343" formatCode="#,##0.00">
                  <c:v>27.08</c:v>
                </c:pt>
                <c:pt idx="344" formatCode="#,##0.00">
                  <c:v>29.4</c:v>
                </c:pt>
                <c:pt idx="345" formatCode="#,##0.00">
                  <c:v>26.81</c:v>
                </c:pt>
                <c:pt idx="346" formatCode="General">
                  <c:v>27.95</c:v>
                </c:pt>
                <c:pt idx="347" formatCode="#,##0.00">
                  <c:v>27.01</c:v>
                </c:pt>
                <c:pt idx="348" formatCode="#,##0.00">
                  <c:v>27.18</c:v>
                </c:pt>
                <c:pt idx="349" formatCode="#,##0.00">
                  <c:v>27.94</c:v>
                </c:pt>
                <c:pt idx="350" formatCode="#,##0.00">
                  <c:v>28.11</c:v>
                </c:pt>
                <c:pt idx="351" formatCode="#,##0.00">
                  <c:v>28.27</c:v>
                </c:pt>
                <c:pt idx="352" formatCode="#,##0.00">
                  <c:v>29.81</c:v>
                </c:pt>
                <c:pt idx="353" formatCode="#,##0.00">
                  <c:v>29.28</c:v>
                </c:pt>
                <c:pt idx="354" formatCode="#,##0.00">
                  <c:v>30.15</c:v>
                </c:pt>
                <c:pt idx="355" formatCode="General">
                  <c:v>29.04</c:v>
                </c:pt>
                <c:pt idx="356" formatCode="#,##0.00">
                  <c:v>29.06</c:v>
                </c:pt>
                <c:pt idx="357" formatCode="#,##0.00">
                  <c:v>29.89</c:v>
                </c:pt>
                <c:pt idx="358" formatCode="#,##0.00">
                  <c:v>29.38</c:v>
                </c:pt>
                <c:pt idx="359" formatCode="#,##0.00">
                  <c:v>29.4</c:v>
                </c:pt>
                <c:pt idx="360" formatCode="#,##0.00">
                  <c:v>30.08</c:v>
                </c:pt>
                <c:pt idx="361" formatCode="#,##0.00">
                  <c:v>30.89</c:v>
                </c:pt>
                <c:pt idx="362" formatCode="#,##0.00">
                  <c:v>30.68</c:v>
                </c:pt>
                <c:pt idx="363" formatCode="#,##0.00">
                  <c:v>32.130000000000003</c:v>
                </c:pt>
                <c:pt idx="364" formatCode="#,##0.00">
                  <c:v>32.71</c:v>
                </c:pt>
                <c:pt idx="365" formatCode="#,##0.00">
                  <c:v>32.39</c:v>
                </c:pt>
                <c:pt idx="366" formatCode="#,##0.00">
                  <c:v>34.67</c:v>
                </c:pt>
                <c:pt idx="367" formatCode="#,##0.00">
                  <c:v>33.79</c:v>
                </c:pt>
                <c:pt idx="368" formatCode="#,##0.00">
                  <c:v>32.58</c:v>
                </c:pt>
                <c:pt idx="369" formatCode="#,##0.00">
                  <c:v>33.369999999999997</c:v>
                </c:pt>
                <c:pt idx="370" formatCode="#,##0.00">
                  <c:v>32.04</c:v>
                </c:pt>
                <c:pt idx="371" formatCode="#,##0.00">
                  <c:v>32.729999999999997</c:v>
                </c:pt>
                <c:pt idx="372" formatCode="#,##0.00">
                  <c:v>31.88</c:v>
                </c:pt>
                <c:pt idx="373" formatCode="#,##0.00">
                  <c:v>32.06</c:v>
                </c:pt>
                <c:pt idx="374" formatCode="#,##0.00">
                  <c:v>34.31</c:v>
                </c:pt>
                <c:pt idx="375" formatCode="#,##0.00">
                  <c:v>33.93</c:v>
                </c:pt>
                <c:pt idx="376" formatCode="#,##0.00">
                  <c:v>34.67</c:v>
                </c:pt>
                <c:pt idx="377" formatCode="#,##0.00">
                  <c:v>33.869999999999997</c:v>
                </c:pt>
                <c:pt idx="378" formatCode="#,##0.00">
                  <c:v>35.229999999999997</c:v>
                </c:pt>
                <c:pt idx="379" formatCode="#,##0.00">
                  <c:v>36.53</c:v>
                </c:pt>
                <c:pt idx="380" formatCode="#,##0.00">
                  <c:v>37.799999999999997</c:v>
                </c:pt>
                <c:pt idx="381" formatCode="#,##0.00">
                  <c:v>37.979999999999997</c:v>
                </c:pt>
                <c:pt idx="382" formatCode="#,##0.00">
                  <c:v>38.119999999999997</c:v>
                </c:pt>
                <c:pt idx="383" formatCode="#,##0.00">
                  <c:v>38.24</c:v>
                </c:pt>
                <c:pt idx="384" formatCode="#,##0.00">
                  <c:v>38.630000000000003</c:v>
                </c:pt>
                <c:pt idx="385" formatCode="#,##0.00">
                  <c:v>37.69</c:v>
                </c:pt>
                <c:pt idx="386" formatCode="#,##0.00">
                  <c:v>36.57</c:v>
                </c:pt>
                <c:pt idx="387" formatCode="#,##0.00">
                  <c:v>39.53</c:v>
                </c:pt>
                <c:pt idx="388" formatCode="#,##0.00">
                  <c:v>39.340000000000003</c:v>
                </c:pt>
                <c:pt idx="389" formatCode="#,##0.00">
                  <c:v>38.4</c:v>
                </c:pt>
                <c:pt idx="390" formatCode="#,##0.00">
                  <c:v>38.03</c:v>
                </c:pt>
                <c:pt idx="391" formatCode="#,##0.00">
                  <c:v>37.81</c:v>
                </c:pt>
                <c:pt idx="392" formatCode="#,##0.00">
                  <c:v>38.869999999999997</c:v>
                </c:pt>
                <c:pt idx="393" formatCode="#,##0.00">
                  <c:v>38.92</c:v>
                </c:pt>
                <c:pt idx="394" formatCode="#,##0.00">
                  <c:v>38.06</c:v>
                </c:pt>
                <c:pt idx="395" formatCode="#,##0.00">
                  <c:v>38.47</c:v>
                </c:pt>
                <c:pt idx="396" formatCode="#,##0.00">
                  <c:v>37.340000000000003</c:v>
                </c:pt>
                <c:pt idx="397" formatCode="#,##0.00">
                  <c:v>37.47</c:v>
                </c:pt>
                <c:pt idx="398" formatCode="#,##0.00">
                  <c:v>34.67</c:v>
                </c:pt>
                <c:pt idx="399" formatCode="#,##0.00">
                  <c:v>33.39</c:v>
                </c:pt>
                <c:pt idx="400" formatCode="#,##0.00">
                  <c:v>33.770000000000003</c:v>
                </c:pt>
                <c:pt idx="401" formatCode="#,##0.00">
                  <c:v>33.24</c:v>
                </c:pt>
                <c:pt idx="402" formatCode="#,##0.00">
                  <c:v>33.909999999999997</c:v>
                </c:pt>
                <c:pt idx="403" formatCode="#,##0.00">
                  <c:v>34.94</c:v>
                </c:pt>
                <c:pt idx="404" formatCode="#,##0.00">
                  <c:v>35.42</c:v>
                </c:pt>
                <c:pt idx="405" formatCode="#,##0.00">
                  <c:v>34.97</c:v>
                </c:pt>
                <c:pt idx="406" formatCode="#,##0.00">
                  <c:v>35.47</c:v>
                </c:pt>
                <c:pt idx="407" formatCode="#,##0.00">
                  <c:v>35.61</c:v>
                </c:pt>
                <c:pt idx="408" formatCode="#,##0.00">
                  <c:v>35.270000000000003</c:v>
                </c:pt>
                <c:pt idx="409" formatCode="#,##0.00">
                  <c:v>34.79</c:v>
                </c:pt>
                <c:pt idx="410" formatCode="#,##0.00">
                  <c:v>34</c:v>
                </c:pt>
                <c:pt idx="411" formatCode="#,##0.00">
                  <c:v>33.86</c:v>
                </c:pt>
                <c:pt idx="412" formatCode="#,##0.00">
                  <c:v>33.04</c:v>
                </c:pt>
                <c:pt idx="413" formatCode="#,##0.00">
                  <c:v>32.770000000000003</c:v>
                </c:pt>
                <c:pt idx="414" formatCode="#,##0.00">
                  <c:v>33.08</c:v>
                </c:pt>
                <c:pt idx="415" formatCode="#,##0.00">
                  <c:v>34.33</c:v>
                </c:pt>
                <c:pt idx="416" formatCode="#,##0.00">
                  <c:v>34.880000000000003</c:v>
                </c:pt>
                <c:pt idx="417" formatCode="#,##0.00">
                  <c:v>35.79</c:v>
                </c:pt>
                <c:pt idx="418" formatCode="#,##0.00">
                  <c:v>36.14</c:v>
                </c:pt>
                <c:pt idx="419" formatCode="#,##0.00">
                  <c:v>37.1</c:v>
                </c:pt>
                <c:pt idx="420" formatCode="#,##0.00">
                  <c:v>36.56</c:v>
                </c:pt>
                <c:pt idx="421" formatCode="#,##0.00">
                  <c:v>36.74</c:v>
                </c:pt>
                <c:pt idx="422" formatCode="#,##0.00">
                  <c:v>36.96</c:v>
                </c:pt>
                <c:pt idx="423" formatCode="#,##0.00">
                  <c:v>35.24</c:v>
                </c:pt>
                <c:pt idx="424" formatCode="#,##0.00">
                  <c:v>36.799999999999997</c:v>
                </c:pt>
                <c:pt idx="425" formatCode="#,##0.00">
                  <c:v>33.82</c:v>
                </c:pt>
                <c:pt idx="426" formatCode="#,##0.00">
                  <c:v>36.92</c:v>
                </c:pt>
                <c:pt idx="427" formatCode="#,##0.00">
                  <c:v>34.96</c:v>
                </c:pt>
                <c:pt idx="428" formatCode="#,##0.00">
                  <c:v>34.409999999999997</c:v>
                </c:pt>
                <c:pt idx="429" formatCode="#,##0.00">
                  <c:v>33.61</c:v>
                </c:pt>
                <c:pt idx="430" formatCode="#,##0.00">
                  <c:v>34.18</c:v>
                </c:pt>
                <c:pt idx="431" formatCode="#,##0.00">
                  <c:v>34.97</c:v>
                </c:pt>
                <c:pt idx="432" formatCode="#,##0.00">
                  <c:v>34.119999999999997</c:v>
                </c:pt>
                <c:pt idx="433" formatCode="#,##0.00">
                  <c:v>35.35</c:v>
                </c:pt>
                <c:pt idx="434" formatCode="#,##0.00">
                  <c:v>33.47</c:v>
                </c:pt>
                <c:pt idx="435" formatCode="#,##0.00">
                  <c:v>35.229999999999997</c:v>
                </c:pt>
                <c:pt idx="436" formatCode="#,##0.00">
                  <c:v>34.97</c:v>
                </c:pt>
                <c:pt idx="437" formatCode="#,##0.00">
                  <c:v>36.01</c:v>
                </c:pt>
                <c:pt idx="439" formatCode="#,##0.00">
                  <c:v>33.479999999999997</c:v>
                </c:pt>
                <c:pt idx="440" formatCode="#,##0.00">
                  <c:v>32.22</c:v>
                </c:pt>
                <c:pt idx="441" formatCode="#,##0.00">
                  <c:v>28.83</c:v>
                </c:pt>
                <c:pt idx="442" formatCode="#,##0.00">
                  <c:v>29.67</c:v>
                </c:pt>
                <c:pt idx="443" formatCode="#,##0.00">
                  <c:v>34.03</c:v>
                </c:pt>
                <c:pt idx="444" formatCode="#,##0.00">
                  <c:v>34.83</c:v>
                </c:pt>
                <c:pt idx="445" formatCode="#,##0.00">
                  <c:v>34</c:v>
                </c:pt>
                <c:pt idx="446" formatCode="#,##0.00">
                  <c:v>32.54</c:v>
                </c:pt>
                <c:pt idx="447" formatCode="#,##0.00">
                  <c:v>31.42</c:v>
                </c:pt>
                <c:pt idx="448" formatCode="#,##0.00">
                  <c:v>33.61</c:v>
                </c:pt>
                <c:pt idx="449" formatCode="#,##0.00">
                  <c:v>30.59</c:v>
                </c:pt>
                <c:pt idx="450" formatCode="#,##0.00">
                  <c:v>29.71</c:v>
                </c:pt>
                <c:pt idx="451" formatCode="#,##0.00">
                  <c:v>29.85</c:v>
                </c:pt>
                <c:pt idx="452" formatCode="#,##0.00">
                  <c:v>30.61</c:v>
                </c:pt>
                <c:pt idx="453" formatCode="#,##0.00">
                  <c:v>29.36</c:v>
                </c:pt>
                <c:pt idx="454" formatCode="#,##0.00">
                  <c:v>29.08</c:v>
                </c:pt>
                <c:pt idx="455" formatCode="#,##0.00">
                  <c:v>30.14</c:v>
                </c:pt>
                <c:pt idx="456" formatCode="#,##0.00">
                  <c:v>30.91</c:v>
                </c:pt>
                <c:pt idx="457" formatCode="#,##0.00">
                  <c:v>29.78</c:v>
                </c:pt>
                <c:pt idx="458" formatCode="#,##0.00">
                  <c:v>28.65</c:v>
                </c:pt>
                <c:pt idx="459" formatCode="#,##0.00">
                  <c:v>27.4</c:v>
                </c:pt>
                <c:pt idx="460" formatCode="#,##0.00">
                  <c:v>27.18</c:v>
                </c:pt>
                <c:pt idx="461" formatCode="#,##0.00">
                  <c:v>27.8</c:v>
                </c:pt>
                <c:pt idx="462" formatCode="#,##0.00">
                  <c:v>27.57</c:v>
                </c:pt>
                <c:pt idx="463" formatCode="#,##0.00">
                  <c:v>27.78</c:v>
                </c:pt>
                <c:pt idx="464" formatCode="#,##0.00">
                  <c:v>28.66</c:v>
                </c:pt>
                <c:pt idx="465" formatCode="#,##0.00">
                  <c:v>28.43</c:v>
                </c:pt>
                <c:pt idx="466" formatCode="#,##0.00">
                  <c:v>28.78</c:v>
                </c:pt>
                <c:pt idx="467" formatCode="#,##0.00">
                  <c:v>27.79</c:v>
                </c:pt>
                <c:pt idx="468" formatCode="General">
                  <c:v>29.02</c:v>
                </c:pt>
                <c:pt idx="469" formatCode="General">
                  <c:v>30.18</c:v>
                </c:pt>
                <c:pt idx="470" formatCode="General">
                  <c:v>28.9</c:v>
                </c:pt>
                <c:pt idx="471" formatCode="General">
                  <c:v>29.5</c:v>
                </c:pt>
                <c:pt idx="472" formatCode="General">
                  <c:v>29.89</c:v>
                </c:pt>
                <c:pt idx="473" formatCode="General">
                  <c:v>28.89</c:v>
                </c:pt>
                <c:pt idx="474" formatCode="General">
                  <c:v>28.81</c:v>
                </c:pt>
                <c:pt idx="475" formatCode="General">
                  <c:v>28.85</c:v>
                </c:pt>
                <c:pt idx="476" formatCode="General">
                  <c:v>28.28</c:v>
                </c:pt>
                <c:pt idx="477" formatCode="General">
                  <c:v>27.72</c:v>
                </c:pt>
                <c:pt idx="478" formatCode="General">
                  <c:v>28.99</c:v>
                </c:pt>
                <c:pt idx="479" formatCode="General">
                  <c:v>29.51</c:v>
                </c:pt>
                <c:pt idx="480" formatCode="General">
                  <c:v>29.23</c:v>
                </c:pt>
                <c:pt idx="481" formatCode="General">
                  <c:v>29.5</c:v>
                </c:pt>
                <c:pt idx="482" formatCode="General">
                  <c:v>28.23</c:v>
                </c:pt>
                <c:pt idx="483" formatCode="General">
                  <c:v>28.62</c:v>
                </c:pt>
                <c:pt idx="495" formatCode="General">
                  <c:v>32.700000000000003</c:v>
                </c:pt>
                <c:pt idx="496" formatCode="General">
                  <c:v>33.01</c:v>
                </c:pt>
                <c:pt idx="497" formatCode="General">
                  <c:v>31.81</c:v>
                </c:pt>
                <c:pt idx="498" formatCode="General">
                  <c:v>31.55</c:v>
                </c:pt>
                <c:pt idx="499" formatCode="General">
                  <c:v>29.75</c:v>
                </c:pt>
                <c:pt idx="500" formatCode="General">
                  <c:v>28.32</c:v>
                </c:pt>
                <c:pt idx="501" formatCode="General">
                  <c:v>27.69</c:v>
                </c:pt>
                <c:pt idx="502" formatCode="General">
                  <c:v>29.61</c:v>
                </c:pt>
                <c:pt idx="503" formatCode="General">
                  <c:v>28.19</c:v>
                </c:pt>
                <c:pt idx="504" formatCode="General">
                  <c:v>26.86</c:v>
                </c:pt>
                <c:pt idx="505" formatCode="General">
                  <c:v>27.55</c:v>
                </c:pt>
                <c:pt idx="506" formatCode="General">
                  <c:v>32.33</c:v>
                </c:pt>
                <c:pt idx="507" formatCode="General">
                  <c:v>31.89</c:v>
                </c:pt>
                <c:pt idx="508" formatCode="General">
                  <c:v>32.82</c:v>
                </c:pt>
                <c:pt idx="509" formatCode="General">
                  <c:v>29.42</c:v>
                </c:pt>
                <c:pt idx="510" formatCode="General">
                  <c:v>29.05</c:v>
                </c:pt>
                <c:pt idx="511" formatCode="General">
                  <c:v>30.04</c:v>
                </c:pt>
                <c:pt idx="512" formatCode="General">
                  <c:v>28.75</c:v>
                </c:pt>
                <c:pt idx="513" formatCode="General">
                  <c:v>30.71</c:v>
                </c:pt>
                <c:pt idx="514" formatCode="General">
                  <c:v>30.89</c:v>
                </c:pt>
                <c:pt idx="515" formatCode="General">
                  <c:v>31.66</c:v>
                </c:pt>
                <c:pt idx="516" formatCode="General">
                  <c:v>31.83</c:v>
                </c:pt>
                <c:pt idx="517" formatCode="General">
                  <c:v>30.08</c:v>
                </c:pt>
                <c:pt idx="518" formatCode="General">
                  <c:v>31.09</c:v>
                </c:pt>
                <c:pt idx="519" formatCode="General">
                  <c:v>31.74</c:v>
                </c:pt>
                <c:pt idx="520" formatCode="General">
                  <c:v>34.729999999999997</c:v>
                </c:pt>
                <c:pt idx="521" formatCode="General">
                  <c:v>32.520000000000003</c:v>
                </c:pt>
                <c:pt idx="522" formatCode="General">
                  <c:v>33.97</c:v>
                </c:pt>
                <c:pt idx="523" formatCode="General">
                  <c:v>33.659999999999997</c:v>
                </c:pt>
                <c:pt idx="524" formatCode="General">
                  <c:v>33.43</c:v>
                </c:pt>
                <c:pt idx="525" formatCode="General">
                  <c:v>33.69</c:v>
                </c:pt>
                <c:pt idx="526" formatCode="General">
                  <c:v>34.869999999999997</c:v>
                </c:pt>
                <c:pt idx="527" formatCode="General">
                  <c:v>35.71</c:v>
                </c:pt>
                <c:pt idx="528" formatCode="General">
                  <c:v>35.99</c:v>
                </c:pt>
                <c:pt idx="529" formatCode="General">
                  <c:v>37.090000000000003</c:v>
                </c:pt>
                <c:pt idx="530" formatCode="General">
                  <c:v>37.96</c:v>
                </c:pt>
                <c:pt idx="531" formatCode="General">
                  <c:v>36.270000000000003</c:v>
                </c:pt>
                <c:pt idx="532" formatCode="General">
                  <c:v>39.03</c:v>
                </c:pt>
                <c:pt idx="533" formatCode="General">
                  <c:v>38.159999999999997</c:v>
                </c:pt>
                <c:pt idx="534" formatCode="General">
                  <c:v>37.520000000000003</c:v>
                </c:pt>
                <c:pt idx="535" formatCode="General">
                  <c:v>37.869999999999997</c:v>
                </c:pt>
                <c:pt idx="536" formatCode="General">
                  <c:v>38.86</c:v>
                </c:pt>
                <c:pt idx="537" formatCode="General">
                  <c:v>40.659999999999997</c:v>
                </c:pt>
                <c:pt idx="538" formatCode="General">
                  <c:v>42.07</c:v>
                </c:pt>
                <c:pt idx="539" formatCode="General">
                  <c:v>40.869999999999997</c:v>
                </c:pt>
                <c:pt idx="540" formatCode="General">
                  <c:v>39.21</c:v>
                </c:pt>
                <c:pt idx="541" formatCode="General">
                  <c:v>42.86</c:v>
                </c:pt>
                <c:pt idx="542" formatCode="General">
                  <c:v>43.75</c:v>
                </c:pt>
                <c:pt idx="543" formatCode="General">
                  <c:v>40.43</c:v>
                </c:pt>
                <c:pt idx="544" formatCode="General">
                  <c:v>39.090000000000003</c:v>
                </c:pt>
                <c:pt idx="545" formatCode="General">
                  <c:v>38.01</c:v>
                </c:pt>
                <c:pt idx="546" formatCode="General">
                  <c:v>38.29</c:v>
                </c:pt>
                <c:pt idx="547" formatCode="General">
                  <c:v>37.270000000000003</c:v>
                </c:pt>
                <c:pt idx="548" formatCode="General">
                  <c:v>37.72</c:v>
                </c:pt>
                <c:pt idx="549" formatCode="General">
                  <c:v>37.659999999999997</c:v>
                </c:pt>
                <c:pt idx="550" formatCode="General">
                  <c:v>37.76</c:v>
                </c:pt>
                <c:pt idx="551" formatCode="General">
                  <c:v>39.549999999999997</c:v>
                </c:pt>
                <c:pt idx="552" formatCode="General">
                  <c:v>39.94</c:v>
                </c:pt>
                <c:pt idx="553" formatCode="General">
                  <c:v>39.04</c:v>
                </c:pt>
                <c:pt idx="554" formatCode="#,##0.00">
                  <c:v>40.03</c:v>
                </c:pt>
                <c:pt idx="555" formatCode="#,##0.00">
                  <c:v>38.93</c:v>
                </c:pt>
                <c:pt idx="556" formatCode="#,##0.00">
                  <c:v>42.32</c:v>
                </c:pt>
                <c:pt idx="557" formatCode="#,##0.00">
                  <c:v>39.36</c:v>
                </c:pt>
                <c:pt idx="558" formatCode="#,##0.00">
                  <c:v>38.15</c:v>
                </c:pt>
                <c:pt idx="559" formatCode="#,##0.00">
                  <c:v>38.33</c:v>
                </c:pt>
                <c:pt idx="560" formatCode="#,##0.00">
                  <c:v>39.74</c:v>
                </c:pt>
                <c:pt idx="563" formatCode="#,##0.00">
                  <c:v>38.04</c:v>
                </c:pt>
                <c:pt idx="564" formatCode="#,##0.00">
                  <c:v>46.99</c:v>
                </c:pt>
                <c:pt idx="565" formatCode="#,##0.00">
                  <c:v>38.5</c:v>
                </c:pt>
                <c:pt idx="566" formatCode="#,##0.00">
                  <c:v>39.22</c:v>
                </c:pt>
                <c:pt idx="567" formatCode="#,##0.00">
                  <c:v>39.47</c:v>
                </c:pt>
                <c:pt idx="568" formatCode="#,##0.00">
                  <c:v>39.72</c:v>
                </c:pt>
                <c:pt idx="569" formatCode="#,##0.00">
                  <c:v>39.94</c:v>
                </c:pt>
                <c:pt idx="570" formatCode="#,##0.00">
                  <c:v>40.86</c:v>
                </c:pt>
                <c:pt idx="571" formatCode="#,##0.00">
                  <c:v>38.270000000000003</c:v>
                </c:pt>
                <c:pt idx="572" formatCode="#,##0.00">
                  <c:v>40.75</c:v>
                </c:pt>
                <c:pt idx="573" formatCode="#,##0.00">
                  <c:v>39.909999999999997</c:v>
                </c:pt>
                <c:pt idx="574" formatCode="#,##0.00">
                  <c:v>40.270000000000003</c:v>
                </c:pt>
                <c:pt idx="575" formatCode="#,##0.00">
                  <c:v>40.36</c:v>
                </c:pt>
                <c:pt idx="576" formatCode="#,##0.00">
                  <c:v>42.03</c:v>
                </c:pt>
                <c:pt idx="577" formatCode="#,##0.00">
                  <c:v>41.65</c:v>
                </c:pt>
                <c:pt idx="578" formatCode="#,##0.00">
                  <c:v>42</c:v>
                </c:pt>
                <c:pt idx="579" formatCode="#,##0.00">
                  <c:v>42</c:v>
                </c:pt>
                <c:pt idx="580" formatCode="#,##0.00">
                  <c:v>41.28</c:v>
                </c:pt>
                <c:pt idx="581" formatCode="#,##0.00">
                  <c:v>40.92</c:v>
                </c:pt>
                <c:pt idx="582" formatCode="#,##0.00">
                  <c:v>42.2</c:v>
                </c:pt>
                <c:pt idx="583" formatCode="General">
                  <c:v>41.69</c:v>
                </c:pt>
                <c:pt idx="584" formatCode="General">
                  <c:v>41.09</c:v>
                </c:pt>
                <c:pt idx="585" formatCode="General">
                  <c:v>42.25</c:v>
                </c:pt>
                <c:pt idx="586" formatCode="General">
                  <c:v>43.64</c:v>
                </c:pt>
                <c:pt idx="587" formatCode="General">
                  <c:v>43.11</c:v>
                </c:pt>
                <c:pt idx="588" formatCode="General">
                  <c:v>42.13</c:v>
                </c:pt>
                <c:pt idx="589" formatCode="General">
                  <c:v>43.4</c:v>
                </c:pt>
                <c:pt idx="590" formatCode="General">
                  <c:v>43.18</c:v>
                </c:pt>
                <c:pt idx="591" formatCode="General">
                  <c:v>43.91</c:v>
                </c:pt>
                <c:pt idx="592" formatCode="General">
                  <c:v>41.45</c:v>
                </c:pt>
                <c:pt idx="593" formatCode="General">
                  <c:v>45.81</c:v>
                </c:pt>
                <c:pt idx="594" formatCode="General">
                  <c:v>40.35</c:v>
                </c:pt>
                <c:pt idx="595" formatCode="General">
                  <c:v>38.28</c:v>
                </c:pt>
                <c:pt idx="596" formatCode="General">
                  <c:v>39.46</c:v>
                </c:pt>
                <c:pt idx="597" formatCode="General">
                  <c:v>38.17</c:v>
                </c:pt>
                <c:pt idx="598" formatCode="General">
                  <c:v>37.11</c:v>
                </c:pt>
                <c:pt idx="599" formatCode="General">
                  <c:v>39.520000000000003</c:v>
                </c:pt>
                <c:pt idx="600" formatCode="General">
                  <c:v>38.49</c:v>
                </c:pt>
                <c:pt idx="601" formatCode="General">
                  <c:v>40.06</c:v>
                </c:pt>
                <c:pt idx="602" formatCode="General">
                  <c:v>39.659999999999997</c:v>
                </c:pt>
                <c:pt idx="603" formatCode="General">
                  <c:v>38.54</c:v>
                </c:pt>
                <c:pt idx="604" formatCode="General">
                  <c:v>39.14</c:v>
                </c:pt>
                <c:pt idx="605" formatCode="General">
                  <c:v>40.28</c:v>
                </c:pt>
                <c:pt idx="606" formatCode="General">
                  <c:v>38.72</c:v>
                </c:pt>
                <c:pt idx="607" formatCode="General">
                  <c:v>36.68</c:v>
                </c:pt>
                <c:pt idx="608" formatCode="General">
                  <c:v>39.630000000000003</c:v>
                </c:pt>
                <c:pt idx="609" formatCode="General">
                  <c:v>38.869999999999997</c:v>
                </c:pt>
                <c:pt idx="610" formatCode="General">
                  <c:v>37.229999999999997</c:v>
                </c:pt>
                <c:pt idx="611" formatCode="General">
                  <c:v>36.65</c:v>
                </c:pt>
                <c:pt idx="612" formatCode="General">
                  <c:v>39.21</c:v>
                </c:pt>
                <c:pt idx="613" formatCode="General">
                  <c:v>37.32</c:v>
                </c:pt>
                <c:pt idx="614" formatCode="General">
                  <c:v>37.24</c:v>
                </c:pt>
                <c:pt idx="615" formatCode="General">
                  <c:v>38.549999999999997</c:v>
                </c:pt>
                <c:pt idx="620" formatCode="General">
                  <c:v>38.450000000000003</c:v>
                </c:pt>
                <c:pt idx="621" formatCode="General">
                  <c:v>37.130000000000003</c:v>
                </c:pt>
                <c:pt idx="622" formatCode="General">
                  <c:v>37.590000000000003</c:v>
                </c:pt>
                <c:pt idx="623" formatCode="General">
                  <c:v>38.700000000000003</c:v>
                </c:pt>
                <c:pt idx="624" formatCode="General">
                  <c:v>37.54</c:v>
                </c:pt>
                <c:pt idx="625" formatCode="General">
                  <c:v>39.950000000000003</c:v>
                </c:pt>
                <c:pt idx="626" formatCode="General">
                  <c:v>38.18</c:v>
                </c:pt>
                <c:pt idx="627" formatCode="General">
                  <c:v>37.74</c:v>
                </c:pt>
                <c:pt idx="628" formatCode="General">
                  <c:v>36.36</c:v>
                </c:pt>
                <c:pt idx="629" formatCode="General">
                  <c:v>38.770000000000003</c:v>
                </c:pt>
                <c:pt idx="630" formatCode="General">
                  <c:v>38.86</c:v>
                </c:pt>
                <c:pt idx="631" formatCode="General">
                  <c:v>37.67</c:v>
                </c:pt>
                <c:pt idx="632" formatCode="General">
                  <c:v>38.36</c:v>
                </c:pt>
                <c:pt idx="633" formatCode="General">
                  <c:v>37.409999999999997</c:v>
                </c:pt>
                <c:pt idx="634" formatCode="General">
                  <c:v>37.64</c:v>
                </c:pt>
                <c:pt idx="635" formatCode="General">
                  <c:v>38.909999999999997</c:v>
                </c:pt>
                <c:pt idx="636" formatCode="General">
                  <c:v>37.729999999999997</c:v>
                </c:pt>
                <c:pt idx="637" formatCode="General">
                  <c:v>36.54</c:v>
                </c:pt>
                <c:pt idx="638" formatCode="General">
                  <c:v>38.020000000000003</c:v>
                </c:pt>
                <c:pt idx="639" formatCode="General">
                  <c:v>36.22</c:v>
                </c:pt>
                <c:pt idx="640" formatCode="General">
                  <c:v>34.6</c:v>
                </c:pt>
                <c:pt idx="641" formatCode="General">
                  <c:v>34.119999999999997</c:v>
                </c:pt>
                <c:pt idx="642" formatCode="General">
                  <c:v>37.479999999999997</c:v>
                </c:pt>
                <c:pt idx="643" formatCode="General">
                  <c:v>35.450000000000003</c:v>
                </c:pt>
                <c:pt idx="644" formatCode="General">
                  <c:v>35.75</c:v>
                </c:pt>
                <c:pt idx="645" formatCode="General">
                  <c:v>35.659999999999997</c:v>
                </c:pt>
                <c:pt idx="646" formatCode="General">
                  <c:v>35.75</c:v>
                </c:pt>
                <c:pt idx="647" formatCode="General">
                  <c:v>36.08</c:v>
                </c:pt>
                <c:pt idx="648" formatCode="General">
                  <c:v>35.57</c:v>
                </c:pt>
                <c:pt idx="649" formatCode="General">
                  <c:v>33.61</c:v>
                </c:pt>
                <c:pt idx="650" formatCode="General">
                  <c:v>32.22</c:v>
                </c:pt>
                <c:pt idx="651" formatCode="General">
                  <c:v>33.01</c:v>
                </c:pt>
                <c:pt idx="652" formatCode="General">
                  <c:v>32.159999999999997</c:v>
                </c:pt>
                <c:pt idx="653" formatCode="General">
                  <c:v>32.81</c:v>
                </c:pt>
                <c:pt idx="654" formatCode="General">
                  <c:v>31.85</c:v>
                </c:pt>
                <c:pt idx="655" formatCode="General">
                  <c:v>32.299999999999997</c:v>
                </c:pt>
                <c:pt idx="656" formatCode="General">
                  <c:v>32.03</c:v>
                </c:pt>
                <c:pt idx="657" formatCode="General">
                  <c:v>30.73</c:v>
                </c:pt>
                <c:pt idx="658" formatCode="General">
                  <c:v>32.74</c:v>
                </c:pt>
                <c:pt idx="659" formatCode="General">
                  <c:v>32.869999999999997</c:v>
                </c:pt>
                <c:pt idx="660" formatCode="General">
                  <c:v>32.090000000000003</c:v>
                </c:pt>
                <c:pt idx="661" formatCode="General">
                  <c:v>34.909999999999997</c:v>
                </c:pt>
                <c:pt idx="662" formatCode="General">
                  <c:v>38.35</c:v>
                </c:pt>
                <c:pt idx="663" formatCode="General">
                  <c:v>34.31</c:v>
                </c:pt>
                <c:pt idx="664" formatCode="General">
                  <c:v>36.590000000000003</c:v>
                </c:pt>
                <c:pt idx="665" formatCode="General">
                  <c:v>35.36</c:v>
                </c:pt>
                <c:pt idx="666" formatCode="General">
                  <c:v>32.71</c:v>
                </c:pt>
                <c:pt idx="667" formatCode="General">
                  <c:v>27.14</c:v>
                </c:pt>
                <c:pt idx="668" formatCode="General">
                  <c:v>34.74</c:v>
                </c:pt>
                <c:pt idx="669" formatCode="General">
                  <c:v>34.35</c:v>
                </c:pt>
                <c:pt idx="670" formatCode="General">
                  <c:v>32.549999999999997</c:v>
                </c:pt>
                <c:pt idx="671" formatCode="General">
                  <c:v>34.450000000000003</c:v>
                </c:pt>
                <c:pt idx="672" formatCode="General">
                  <c:v>32.15</c:v>
                </c:pt>
                <c:pt idx="673" formatCode="General">
                  <c:v>32.65</c:v>
                </c:pt>
                <c:pt idx="674" formatCode="General">
                  <c:v>33.76</c:v>
                </c:pt>
                <c:pt idx="675" formatCode="General">
                  <c:v>34.99</c:v>
                </c:pt>
                <c:pt idx="676" formatCode="General">
                  <c:v>32.56</c:v>
                </c:pt>
                <c:pt idx="677" formatCode="General">
                  <c:v>31.62</c:v>
                </c:pt>
                <c:pt idx="678" formatCode="General">
                  <c:v>31.04</c:v>
                </c:pt>
                <c:pt idx="679" formatCode="General">
                  <c:v>33.6</c:v>
                </c:pt>
                <c:pt idx="680" formatCode="General">
                  <c:v>32.86</c:v>
                </c:pt>
                <c:pt idx="681" formatCode="General">
                  <c:v>34.89</c:v>
                </c:pt>
                <c:pt idx="682" formatCode="General">
                  <c:v>33.44</c:v>
                </c:pt>
                <c:pt idx="683" formatCode="General">
                  <c:v>33.35</c:v>
                </c:pt>
                <c:pt idx="684" formatCode="General">
                  <c:v>33.08</c:v>
                </c:pt>
                <c:pt idx="685" formatCode="General">
                  <c:v>34.090000000000003</c:v>
                </c:pt>
                <c:pt idx="686" formatCode="General">
                  <c:v>33.229999999999997</c:v>
                </c:pt>
                <c:pt idx="687" formatCode="General">
                  <c:v>33.99</c:v>
                </c:pt>
                <c:pt idx="688" formatCode="General">
                  <c:v>33.6</c:v>
                </c:pt>
                <c:pt idx="689" formatCode="General">
                  <c:v>34.78</c:v>
                </c:pt>
                <c:pt idx="690" formatCode="General">
                  <c:v>36.270000000000003</c:v>
                </c:pt>
                <c:pt idx="691" formatCode="General">
                  <c:v>33.979999999999997</c:v>
                </c:pt>
                <c:pt idx="692" formatCode="General">
                  <c:v>34.72</c:v>
                </c:pt>
                <c:pt idx="693" formatCode="General">
                  <c:v>32.08</c:v>
                </c:pt>
                <c:pt idx="694" formatCode="General">
                  <c:v>27.85</c:v>
                </c:pt>
                <c:pt idx="695" formatCode="General">
                  <c:v>30.76</c:v>
                </c:pt>
                <c:pt idx="696" formatCode="General">
                  <c:v>28.2</c:v>
                </c:pt>
                <c:pt idx="697" formatCode="General">
                  <c:v>29.53</c:v>
                </c:pt>
                <c:pt idx="698" formatCode="General">
                  <c:v>32.18</c:v>
                </c:pt>
                <c:pt idx="699" formatCode="General">
                  <c:v>29.71</c:v>
                </c:pt>
                <c:pt idx="700" formatCode="General">
                  <c:v>32.979999999999997</c:v>
                </c:pt>
                <c:pt idx="701" formatCode="General">
                  <c:v>30.77</c:v>
                </c:pt>
                <c:pt idx="702" formatCode="General">
                  <c:v>31.64</c:v>
                </c:pt>
                <c:pt idx="703" formatCode="General">
                  <c:v>30.42</c:v>
                </c:pt>
                <c:pt idx="704" formatCode="General">
                  <c:v>33.57</c:v>
                </c:pt>
                <c:pt idx="705" formatCode="General">
                  <c:v>31.21</c:v>
                </c:pt>
                <c:pt idx="706" formatCode="General">
                  <c:v>32.32</c:v>
                </c:pt>
                <c:pt idx="707" formatCode="General">
                  <c:v>30.59</c:v>
                </c:pt>
                <c:pt idx="708" formatCode="General">
                  <c:v>30.07</c:v>
                </c:pt>
                <c:pt idx="709" formatCode="General">
                  <c:v>28.7</c:v>
                </c:pt>
                <c:pt idx="710" formatCode="General">
                  <c:v>30.32</c:v>
                </c:pt>
                <c:pt idx="711" formatCode="General">
                  <c:v>31.23</c:v>
                </c:pt>
                <c:pt idx="712" formatCode="General">
                  <c:v>31.43</c:v>
                </c:pt>
                <c:pt idx="713" formatCode="General">
                  <c:v>32.549999999999997</c:v>
                </c:pt>
                <c:pt idx="714" formatCode="General">
                  <c:v>32.74</c:v>
                </c:pt>
                <c:pt idx="715" formatCode="General">
                  <c:v>32.33</c:v>
                </c:pt>
                <c:pt idx="716" formatCode="General">
                  <c:v>30.92</c:v>
                </c:pt>
                <c:pt idx="717" formatCode="General">
                  <c:v>30.08</c:v>
                </c:pt>
                <c:pt idx="718" formatCode="General">
                  <c:v>33.03</c:v>
                </c:pt>
                <c:pt idx="719" formatCode="General">
                  <c:v>28.98</c:v>
                </c:pt>
                <c:pt idx="720" formatCode="General">
                  <c:v>29.31</c:v>
                </c:pt>
                <c:pt idx="721" formatCode="General">
                  <c:v>29.32</c:v>
                </c:pt>
                <c:pt idx="722" formatCode="General">
                  <c:v>30.28</c:v>
                </c:pt>
                <c:pt idx="723" formatCode="General">
                  <c:v>29.8</c:v>
                </c:pt>
                <c:pt idx="724" formatCode="General">
                  <c:v>29.89</c:v>
                </c:pt>
                <c:pt idx="725" formatCode="General">
                  <c:v>32.619999999999997</c:v>
                </c:pt>
                <c:pt idx="726" formatCode="General">
                  <c:v>31.85</c:v>
                </c:pt>
                <c:pt idx="727" formatCode="General">
                  <c:v>30.85</c:v>
                </c:pt>
                <c:pt idx="728" formatCode="General">
                  <c:v>30.47</c:v>
                </c:pt>
                <c:pt idx="729" formatCode="General">
                  <c:v>29.54</c:v>
                </c:pt>
                <c:pt idx="730" formatCode="General">
                  <c:v>32.17</c:v>
                </c:pt>
                <c:pt idx="731" formatCode="General">
                  <c:v>32.28</c:v>
                </c:pt>
                <c:pt idx="732" formatCode="General">
                  <c:v>31.55</c:v>
                </c:pt>
                <c:pt idx="733" formatCode="General">
                  <c:v>31.04</c:v>
                </c:pt>
                <c:pt idx="734" formatCode="General">
                  <c:v>37.43</c:v>
                </c:pt>
                <c:pt idx="735" formatCode="General">
                  <c:v>33.82</c:v>
                </c:pt>
                <c:pt idx="736" formatCode="General">
                  <c:v>34.270000000000003</c:v>
                </c:pt>
                <c:pt idx="737" formatCode="General">
                  <c:v>34.15</c:v>
                </c:pt>
                <c:pt idx="738" formatCode="General">
                  <c:v>32.04</c:v>
                </c:pt>
                <c:pt idx="739" formatCode="General">
                  <c:v>33</c:v>
                </c:pt>
                <c:pt idx="740" formatCode="General">
                  <c:v>33.700000000000003</c:v>
                </c:pt>
                <c:pt idx="741" formatCode="General">
                  <c:v>31.54</c:v>
                </c:pt>
                <c:pt idx="742" formatCode="General">
                  <c:v>29.87</c:v>
                </c:pt>
                <c:pt idx="743" formatCode="General">
                  <c:v>29.67</c:v>
                </c:pt>
                <c:pt idx="744" formatCode="General">
                  <c:v>31.67</c:v>
                </c:pt>
                <c:pt idx="745" formatCode="General">
                  <c:v>32.42</c:v>
                </c:pt>
                <c:pt idx="746" formatCode="General">
                  <c:v>32.479999999999997</c:v>
                </c:pt>
                <c:pt idx="747" formatCode="General">
                  <c:v>33.56</c:v>
                </c:pt>
                <c:pt idx="748" formatCode="General">
                  <c:v>32.53</c:v>
                </c:pt>
                <c:pt idx="749" formatCode="General">
                  <c:v>33</c:v>
                </c:pt>
                <c:pt idx="750" formatCode="General">
                  <c:v>34.69</c:v>
                </c:pt>
                <c:pt idx="751" formatCode="General">
                  <c:v>37.130000000000003</c:v>
                </c:pt>
                <c:pt idx="752" formatCode="General">
                  <c:v>34.700000000000003</c:v>
                </c:pt>
                <c:pt idx="753" formatCode="General">
                  <c:v>36.1</c:v>
                </c:pt>
                <c:pt idx="754" formatCode="General">
                  <c:v>35.03</c:v>
                </c:pt>
                <c:pt idx="755" formatCode="General">
                  <c:v>33.99</c:v>
                </c:pt>
                <c:pt idx="756" formatCode="General">
                  <c:v>34.799999999999997</c:v>
                </c:pt>
                <c:pt idx="757" formatCode="General">
                  <c:v>34.65</c:v>
                </c:pt>
                <c:pt idx="758" formatCode="General">
                  <c:v>34.07</c:v>
                </c:pt>
                <c:pt idx="759" formatCode="General">
                  <c:v>33.75</c:v>
                </c:pt>
                <c:pt idx="760" formatCode="General">
                  <c:v>35.380000000000003</c:v>
                </c:pt>
                <c:pt idx="761" formatCode="General">
                  <c:v>35.47</c:v>
                </c:pt>
                <c:pt idx="762" formatCode="General">
                  <c:v>35.56</c:v>
                </c:pt>
                <c:pt idx="763" formatCode="General">
                  <c:v>35.409999999999997</c:v>
                </c:pt>
                <c:pt idx="764" formatCode="General">
                  <c:v>35.630000000000003</c:v>
                </c:pt>
                <c:pt idx="765" formatCode="General">
                  <c:v>38.31</c:v>
                </c:pt>
                <c:pt idx="766" formatCode="General">
                  <c:v>37.21</c:v>
                </c:pt>
                <c:pt idx="767" formatCode="General">
                  <c:v>35.61</c:v>
                </c:pt>
                <c:pt idx="768" formatCode="General">
                  <c:v>35.69</c:v>
                </c:pt>
                <c:pt idx="769" formatCode="General">
                  <c:v>38</c:v>
                </c:pt>
                <c:pt idx="770" formatCode="General">
                  <c:v>35.96</c:v>
                </c:pt>
                <c:pt idx="771" formatCode="General">
                  <c:v>36.6</c:v>
                </c:pt>
                <c:pt idx="773" formatCode="General">
                  <c:v>36.86</c:v>
                </c:pt>
                <c:pt idx="774" formatCode="General">
                  <c:v>42.36</c:v>
                </c:pt>
                <c:pt idx="775" formatCode="General">
                  <c:v>38.96</c:v>
                </c:pt>
                <c:pt idx="776" formatCode="General">
                  <c:v>40.51</c:v>
                </c:pt>
                <c:pt idx="777" formatCode="General">
                  <c:v>41.96</c:v>
                </c:pt>
                <c:pt idx="778" formatCode="General">
                  <c:v>41.14</c:v>
                </c:pt>
                <c:pt idx="779" formatCode="General">
                  <c:v>41.95</c:v>
                </c:pt>
                <c:pt idx="780" formatCode="General">
                  <c:v>43</c:v>
                </c:pt>
                <c:pt idx="781" formatCode="General">
                  <c:v>41.35</c:v>
                </c:pt>
                <c:pt idx="782" formatCode="General">
                  <c:v>42.34</c:v>
                </c:pt>
                <c:pt idx="783" formatCode="General">
                  <c:v>38.75</c:v>
                </c:pt>
                <c:pt idx="784" formatCode="General">
                  <c:v>40.020000000000003</c:v>
                </c:pt>
                <c:pt idx="785" formatCode="General">
                  <c:v>40.049999999999997</c:v>
                </c:pt>
                <c:pt idx="786" formatCode="General">
                  <c:v>40.33</c:v>
                </c:pt>
                <c:pt idx="787" formatCode="General">
                  <c:v>41.29</c:v>
                </c:pt>
                <c:pt idx="788" formatCode="General">
                  <c:v>39.39</c:v>
                </c:pt>
                <c:pt idx="789" formatCode="General">
                  <c:v>39.49</c:v>
                </c:pt>
                <c:pt idx="790" formatCode="General">
                  <c:v>39.86</c:v>
                </c:pt>
                <c:pt idx="791" formatCode="General">
                  <c:v>39.39</c:v>
                </c:pt>
                <c:pt idx="792" formatCode="General">
                  <c:v>41.92</c:v>
                </c:pt>
                <c:pt idx="793" formatCode="General">
                  <c:v>42.75</c:v>
                </c:pt>
                <c:pt idx="794" formatCode="General">
                  <c:v>40.44</c:v>
                </c:pt>
                <c:pt idx="795" formatCode="General">
                  <c:v>41.34</c:v>
                </c:pt>
                <c:pt idx="796" formatCode="General">
                  <c:v>44.45</c:v>
                </c:pt>
                <c:pt idx="797" formatCode="General">
                  <c:v>40.380000000000003</c:v>
                </c:pt>
                <c:pt idx="798" formatCode="General">
                  <c:v>42.28</c:v>
                </c:pt>
                <c:pt idx="799" formatCode="General">
                  <c:v>40.020000000000003</c:v>
                </c:pt>
                <c:pt idx="800" formatCode="General">
                  <c:v>43.42</c:v>
                </c:pt>
                <c:pt idx="801" formatCode="General">
                  <c:v>41.56</c:v>
                </c:pt>
              </c:numCache>
            </c:numRef>
          </c:val>
          <c:smooth val="0"/>
          <c:extLst>
            <c:ext xmlns:c16="http://schemas.microsoft.com/office/drawing/2014/chart" uri="{C3380CC4-5D6E-409C-BE32-E72D297353CC}">
              <c16:uniqueId val="{00000000-7530-4164-8D6C-3BDC6E471E14}"/>
            </c:ext>
          </c:extLst>
        </c:ser>
        <c:dLbls>
          <c:showLegendKey val="0"/>
          <c:showVal val="0"/>
          <c:showCatName val="0"/>
          <c:showSerName val="0"/>
          <c:showPercent val="0"/>
          <c:showBubbleSize val="0"/>
        </c:dLbls>
        <c:smooth val="0"/>
        <c:axId val="1221192351"/>
        <c:axId val="1"/>
      </c:lineChart>
      <c:catAx>
        <c:axId val="1221192351"/>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1192351"/>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Lean cows</a:t>
            </a:r>
          </a:p>
        </c:rich>
      </c:tx>
      <c:overlay val="0"/>
    </c:title>
    <c:autoTitleDeleted val="0"/>
    <c:plotArea>
      <c:layout/>
      <c:lineChart>
        <c:grouping val="standard"/>
        <c:varyColors val="0"/>
        <c:ser>
          <c:idx val="6"/>
          <c:order val="0"/>
          <c:tx>
            <c:strRef>
              <c:f>Summary!$L$3</c:f>
              <c:strCache>
                <c:ptCount val="1"/>
                <c:pt idx="0">
                  <c:v>Lean cows</c:v>
                </c:pt>
              </c:strCache>
            </c:strRef>
          </c:tx>
          <c:spPr>
            <a:ln w="12700">
              <a:solidFill>
                <a:schemeClr val="tx1"/>
              </a:solidFill>
            </a:ln>
          </c:spPr>
          <c:marker>
            <c:symbol val="none"/>
          </c:marker>
          <c:cat>
            <c:numRef>
              <c:f>Summary!$B$392:$B$806</c:f>
              <c:numCache>
                <c:formatCode>General</c:formatCode>
                <c:ptCount val="415"/>
                <c:pt idx="0">
                  <c:v>2018</c:v>
                </c:pt>
                <c:pt idx="50">
                  <c:v>2019</c:v>
                </c:pt>
                <c:pt idx="100">
                  <c:v>2020</c:v>
                </c:pt>
                <c:pt idx="148">
                  <c:v>2021</c:v>
                </c:pt>
                <c:pt idx="196">
                  <c:v>2022</c:v>
                </c:pt>
                <c:pt idx="246">
                  <c:v>2023</c:v>
                </c:pt>
                <c:pt idx="296">
                  <c:v>2024</c:v>
                </c:pt>
                <c:pt idx="346">
                  <c:v>2025</c:v>
                </c:pt>
                <c:pt idx="393">
                  <c:v>2026</c:v>
                </c:pt>
              </c:numCache>
            </c:numRef>
          </c:cat>
          <c:val>
            <c:numRef>
              <c:f>Summary!$L$392:$L$810</c:f>
              <c:numCache>
                <c:formatCode>#,##0.00</c:formatCode>
                <c:ptCount val="419"/>
                <c:pt idx="26">
                  <c:v>18.260000000000002</c:v>
                </c:pt>
                <c:pt idx="27">
                  <c:v>19.03</c:v>
                </c:pt>
                <c:pt idx="28">
                  <c:v>18.399999999999999</c:v>
                </c:pt>
                <c:pt idx="29">
                  <c:v>20.190000000000001</c:v>
                </c:pt>
                <c:pt idx="30">
                  <c:v>19.63</c:v>
                </c:pt>
                <c:pt idx="31">
                  <c:v>19.98</c:v>
                </c:pt>
                <c:pt idx="32">
                  <c:v>21.06</c:v>
                </c:pt>
                <c:pt idx="33">
                  <c:v>19.98</c:v>
                </c:pt>
                <c:pt idx="34">
                  <c:v>19.52</c:v>
                </c:pt>
                <c:pt idx="35">
                  <c:v>20.85</c:v>
                </c:pt>
                <c:pt idx="36">
                  <c:v>21.31</c:v>
                </c:pt>
                <c:pt idx="37">
                  <c:v>21.47</c:v>
                </c:pt>
                <c:pt idx="38">
                  <c:v>21.52</c:v>
                </c:pt>
                <c:pt idx="39">
                  <c:v>21.47</c:v>
                </c:pt>
                <c:pt idx="40">
                  <c:v>21.68</c:v>
                </c:pt>
                <c:pt idx="41">
                  <c:v>21.88</c:v>
                </c:pt>
                <c:pt idx="42">
                  <c:v>21.19</c:v>
                </c:pt>
                <c:pt idx="43">
                  <c:v>21.68</c:v>
                </c:pt>
                <c:pt idx="44">
                  <c:v>21.2</c:v>
                </c:pt>
                <c:pt idx="45">
                  <c:v>20.45</c:v>
                </c:pt>
                <c:pt idx="46">
                  <c:v>20.41</c:v>
                </c:pt>
                <c:pt idx="47">
                  <c:v>21.89</c:v>
                </c:pt>
                <c:pt idx="48">
                  <c:v>22.33</c:v>
                </c:pt>
                <c:pt idx="49">
                  <c:v>22.94</c:v>
                </c:pt>
                <c:pt idx="51">
                  <c:v>20.89</c:v>
                </c:pt>
                <c:pt idx="52">
                  <c:v>19.47</c:v>
                </c:pt>
                <c:pt idx="53">
                  <c:v>18.28</c:v>
                </c:pt>
                <c:pt idx="54">
                  <c:v>18.96</c:v>
                </c:pt>
                <c:pt idx="55">
                  <c:v>20.07</c:v>
                </c:pt>
                <c:pt idx="56">
                  <c:v>20.14</c:v>
                </c:pt>
                <c:pt idx="57">
                  <c:v>19.28</c:v>
                </c:pt>
                <c:pt idx="58">
                  <c:v>19.18</c:v>
                </c:pt>
                <c:pt idx="59">
                  <c:v>19.45</c:v>
                </c:pt>
                <c:pt idx="60">
                  <c:v>18.34</c:v>
                </c:pt>
                <c:pt idx="61">
                  <c:v>17.88</c:v>
                </c:pt>
                <c:pt idx="62">
                  <c:v>18.079999999999998</c:v>
                </c:pt>
                <c:pt idx="63">
                  <c:v>18.37</c:v>
                </c:pt>
                <c:pt idx="64">
                  <c:v>19.18</c:v>
                </c:pt>
                <c:pt idx="65">
                  <c:v>17.850000000000001</c:v>
                </c:pt>
                <c:pt idx="66">
                  <c:v>17.73</c:v>
                </c:pt>
                <c:pt idx="67">
                  <c:v>19.16</c:v>
                </c:pt>
                <c:pt idx="68">
                  <c:v>18.27</c:v>
                </c:pt>
                <c:pt idx="69">
                  <c:v>17.54</c:v>
                </c:pt>
                <c:pt idx="70">
                  <c:v>16.829999999999998</c:v>
                </c:pt>
                <c:pt idx="71">
                  <c:v>17.11</c:v>
                </c:pt>
                <c:pt idx="72">
                  <c:v>16.78</c:v>
                </c:pt>
                <c:pt idx="73">
                  <c:v>17.72</c:v>
                </c:pt>
                <c:pt idx="74">
                  <c:v>17.75</c:v>
                </c:pt>
                <c:pt idx="75">
                  <c:v>16.68</c:v>
                </c:pt>
                <c:pt idx="76">
                  <c:v>17.98</c:v>
                </c:pt>
                <c:pt idx="77">
                  <c:v>18.309999999999999</c:v>
                </c:pt>
                <c:pt idx="78">
                  <c:v>19.43</c:v>
                </c:pt>
                <c:pt idx="79">
                  <c:v>18.96</c:v>
                </c:pt>
                <c:pt idx="80" formatCode="General">
                  <c:v>18.559999999999999</c:v>
                </c:pt>
                <c:pt idx="81" formatCode="General">
                  <c:v>19.68</c:v>
                </c:pt>
                <c:pt idx="82" formatCode="General">
                  <c:v>18.739999999999998</c:v>
                </c:pt>
                <c:pt idx="83" formatCode="General">
                  <c:v>18.850000000000001</c:v>
                </c:pt>
                <c:pt idx="84" formatCode="General">
                  <c:v>17.940000000000001</c:v>
                </c:pt>
                <c:pt idx="85" formatCode="General">
                  <c:v>18.940000000000001</c:v>
                </c:pt>
                <c:pt idx="86" formatCode="General">
                  <c:v>19.440000000000001</c:v>
                </c:pt>
                <c:pt idx="87" formatCode="General">
                  <c:v>18.329999999999998</c:v>
                </c:pt>
                <c:pt idx="88" formatCode="General">
                  <c:v>18.79</c:v>
                </c:pt>
                <c:pt idx="89" formatCode="General">
                  <c:v>19.82</c:v>
                </c:pt>
                <c:pt idx="90" formatCode="General">
                  <c:v>20.51</c:v>
                </c:pt>
                <c:pt idx="91" formatCode="General">
                  <c:v>20.86</c:v>
                </c:pt>
                <c:pt idx="92" formatCode="General">
                  <c:v>19.38</c:v>
                </c:pt>
                <c:pt idx="93" formatCode="General">
                  <c:v>20.14</c:v>
                </c:pt>
                <c:pt idx="94" formatCode="General">
                  <c:v>18.809999999999999</c:v>
                </c:pt>
                <c:pt idx="95" formatCode="General">
                  <c:v>19.739999999999998</c:v>
                </c:pt>
                <c:pt idx="107" formatCode="General">
                  <c:v>22.67</c:v>
                </c:pt>
                <c:pt idx="108" formatCode="General">
                  <c:v>20.14</c:v>
                </c:pt>
                <c:pt idx="109" formatCode="General">
                  <c:v>18.28</c:v>
                </c:pt>
                <c:pt idx="110" formatCode="General">
                  <c:v>19.37</c:v>
                </c:pt>
                <c:pt idx="111" formatCode="General">
                  <c:v>19.47</c:v>
                </c:pt>
                <c:pt idx="112" formatCode="General">
                  <c:v>17.18</c:v>
                </c:pt>
                <c:pt idx="113" formatCode="General">
                  <c:v>17</c:v>
                </c:pt>
                <c:pt idx="114" formatCode="General">
                  <c:v>17</c:v>
                </c:pt>
                <c:pt idx="115" formatCode="General">
                  <c:v>19.02</c:v>
                </c:pt>
                <c:pt idx="116" formatCode="General">
                  <c:v>16.18</c:v>
                </c:pt>
                <c:pt idx="117" formatCode="General">
                  <c:v>16.149999999999999</c:v>
                </c:pt>
                <c:pt idx="118" formatCode="General">
                  <c:v>17.72</c:v>
                </c:pt>
                <c:pt idx="119" formatCode="General">
                  <c:v>17.489999999999998</c:v>
                </c:pt>
                <c:pt idx="120" formatCode="General">
                  <c:v>17.3</c:v>
                </c:pt>
                <c:pt idx="121" formatCode="General">
                  <c:v>17.23</c:v>
                </c:pt>
                <c:pt idx="122" formatCode="General">
                  <c:v>11.94</c:v>
                </c:pt>
                <c:pt idx="123" formatCode="General">
                  <c:v>17.8</c:v>
                </c:pt>
                <c:pt idx="124" formatCode="General">
                  <c:v>17.57</c:v>
                </c:pt>
                <c:pt idx="125" formatCode="General">
                  <c:v>17.89</c:v>
                </c:pt>
                <c:pt idx="126" formatCode="General">
                  <c:v>17.850000000000001</c:v>
                </c:pt>
                <c:pt idx="127" formatCode="General">
                  <c:v>18.3</c:v>
                </c:pt>
                <c:pt idx="128" formatCode="General">
                  <c:v>17.100000000000001</c:v>
                </c:pt>
                <c:pt idx="129" formatCode="General">
                  <c:v>18.16</c:v>
                </c:pt>
                <c:pt idx="130" formatCode="General">
                  <c:v>16.97</c:v>
                </c:pt>
                <c:pt idx="131" formatCode="General">
                  <c:v>18.440000000000001</c:v>
                </c:pt>
                <c:pt idx="132" formatCode="General">
                  <c:v>19.350000000000001</c:v>
                </c:pt>
                <c:pt idx="133" formatCode="General">
                  <c:v>18.5</c:v>
                </c:pt>
                <c:pt idx="134" formatCode="General">
                  <c:v>19.12</c:v>
                </c:pt>
                <c:pt idx="135" formatCode="General">
                  <c:v>19.82</c:v>
                </c:pt>
                <c:pt idx="136" formatCode="General">
                  <c:v>20.309999999999999</c:v>
                </c:pt>
                <c:pt idx="137" formatCode="General">
                  <c:v>18.88</c:v>
                </c:pt>
                <c:pt idx="138" formatCode="General">
                  <c:v>19.739999999999998</c:v>
                </c:pt>
                <c:pt idx="139" formatCode="General">
                  <c:v>20.92</c:v>
                </c:pt>
                <c:pt idx="140" formatCode="General">
                  <c:v>19.920000000000002</c:v>
                </c:pt>
                <c:pt idx="141" formatCode="General">
                  <c:v>22</c:v>
                </c:pt>
                <c:pt idx="142" formatCode="General">
                  <c:v>22.06</c:v>
                </c:pt>
                <c:pt idx="143" formatCode="General">
                  <c:v>20.68</c:v>
                </c:pt>
                <c:pt idx="144" formatCode="General">
                  <c:v>22.45</c:v>
                </c:pt>
                <c:pt idx="145" formatCode="General">
                  <c:v>22.13</c:v>
                </c:pt>
                <c:pt idx="146" formatCode="General">
                  <c:v>22.04</c:v>
                </c:pt>
                <c:pt idx="147" formatCode="General">
                  <c:v>22.82</c:v>
                </c:pt>
                <c:pt idx="148" formatCode="General">
                  <c:v>19.809999999999999</c:v>
                </c:pt>
                <c:pt idx="149" formatCode="General">
                  <c:v>21.32</c:v>
                </c:pt>
                <c:pt idx="150" formatCode="General">
                  <c:v>20.83</c:v>
                </c:pt>
                <c:pt idx="151" formatCode="General">
                  <c:v>22.18</c:v>
                </c:pt>
                <c:pt idx="152" formatCode="General">
                  <c:v>21.38</c:v>
                </c:pt>
                <c:pt idx="153" formatCode="General">
                  <c:v>22.41</c:v>
                </c:pt>
                <c:pt idx="154" formatCode="General">
                  <c:v>21.4</c:v>
                </c:pt>
                <c:pt idx="155" formatCode="General">
                  <c:v>21.07</c:v>
                </c:pt>
                <c:pt idx="156" formatCode="General">
                  <c:v>20.96</c:v>
                </c:pt>
                <c:pt idx="157" formatCode="General">
                  <c:v>20.71</c:v>
                </c:pt>
                <c:pt idx="158" formatCode="General">
                  <c:v>20.96</c:v>
                </c:pt>
                <c:pt idx="159" formatCode="General">
                  <c:v>20.02</c:v>
                </c:pt>
                <c:pt idx="160" formatCode="General">
                  <c:v>21.01</c:v>
                </c:pt>
                <c:pt idx="161" formatCode="General">
                  <c:v>18.899999999999999</c:v>
                </c:pt>
                <c:pt idx="162" formatCode="General">
                  <c:v>20.22</c:v>
                </c:pt>
                <c:pt idx="163" formatCode="General">
                  <c:v>19.57</c:v>
                </c:pt>
                <c:pt idx="164" formatCode="General">
                  <c:v>22.56</c:v>
                </c:pt>
                <c:pt idx="165" formatCode="General">
                  <c:v>20.63</c:v>
                </c:pt>
                <c:pt idx="166">
                  <c:v>21.86</c:v>
                </c:pt>
                <c:pt idx="167">
                  <c:v>19.940000000000001</c:v>
                </c:pt>
                <c:pt idx="168">
                  <c:v>20.69</c:v>
                </c:pt>
                <c:pt idx="169">
                  <c:v>20.68</c:v>
                </c:pt>
                <c:pt idx="170">
                  <c:v>19.760000000000002</c:v>
                </c:pt>
                <c:pt idx="171">
                  <c:v>19.87</c:v>
                </c:pt>
                <c:pt idx="172">
                  <c:v>20.260000000000002</c:v>
                </c:pt>
                <c:pt idx="175">
                  <c:v>20.46</c:v>
                </c:pt>
                <c:pt idx="176">
                  <c:v>20.89</c:v>
                </c:pt>
                <c:pt idx="177">
                  <c:v>22.09</c:v>
                </c:pt>
                <c:pt idx="178">
                  <c:v>21.59</c:v>
                </c:pt>
                <c:pt idx="179">
                  <c:v>22.64</c:v>
                </c:pt>
                <c:pt idx="180">
                  <c:v>19.93</c:v>
                </c:pt>
                <c:pt idx="181">
                  <c:v>22.31</c:v>
                </c:pt>
                <c:pt idx="182">
                  <c:v>22.72</c:v>
                </c:pt>
                <c:pt idx="183">
                  <c:v>21.38</c:v>
                </c:pt>
                <c:pt idx="184">
                  <c:v>23.57</c:v>
                </c:pt>
                <c:pt idx="185">
                  <c:v>21.98</c:v>
                </c:pt>
                <c:pt idx="186">
                  <c:v>24.26</c:v>
                </c:pt>
                <c:pt idx="187">
                  <c:v>22.54</c:v>
                </c:pt>
                <c:pt idx="188">
                  <c:v>22.94</c:v>
                </c:pt>
                <c:pt idx="189">
                  <c:v>22.94</c:v>
                </c:pt>
                <c:pt idx="190">
                  <c:v>23.32</c:v>
                </c:pt>
                <c:pt idx="191">
                  <c:v>23.71</c:v>
                </c:pt>
                <c:pt idx="192">
                  <c:v>24.69</c:v>
                </c:pt>
                <c:pt idx="193">
                  <c:v>23.48</c:v>
                </c:pt>
                <c:pt idx="194">
                  <c:v>24.32</c:v>
                </c:pt>
                <c:pt idx="195" formatCode="General">
                  <c:v>25.12</c:v>
                </c:pt>
                <c:pt idx="196" formatCode="General">
                  <c:v>26.4</c:v>
                </c:pt>
                <c:pt idx="197" formatCode="General">
                  <c:v>25.95</c:v>
                </c:pt>
                <c:pt idx="198" formatCode="General">
                  <c:v>26.86</c:v>
                </c:pt>
                <c:pt idx="199" formatCode="General">
                  <c:v>22.99</c:v>
                </c:pt>
                <c:pt idx="200" formatCode="General">
                  <c:v>23.39</c:v>
                </c:pt>
                <c:pt idx="201" formatCode="General">
                  <c:v>22.2</c:v>
                </c:pt>
                <c:pt idx="202" formatCode="General">
                  <c:v>22.8</c:v>
                </c:pt>
                <c:pt idx="203" formatCode="General">
                  <c:v>21.76</c:v>
                </c:pt>
                <c:pt idx="204" formatCode="General">
                  <c:v>22.54</c:v>
                </c:pt>
                <c:pt idx="205" formatCode="General">
                  <c:v>22.7</c:v>
                </c:pt>
                <c:pt idx="206" formatCode="General">
                  <c:v>22.47</c:v>
                </c:pt>
                <c:pt idx="207" formatCode="General">
                  <c:v>21.61</c:v>
                </c:pt>
                <c:pt idx="208" formatCode="General">
                  <c:v>22.04</c:v>
                </c:pt>
                <c:pt idx="209" formatCode="General">
                  <c:v>23.01</c:v>
                </c:pt>
                <c:pt idx="210" formatCode="General">
                  <c:v>20.61</c:v>
                </c:pt>
                <c:pt idx="211" formatCode="General">
                  <c:v>21.62</c:v>
                </c:pt>
                <c:pt idx="212" formatCode="General">
                  <c:v>21.83</c:v>
                </c:pt>
                <c:pt idx="213" formatCode="General">
                  <c:v>23.05</c:v>
                </c:pt>
                <c:pt idx="214" formatCode="General">
                  <c:v>22.36</c:v>
                </c:pt>
                <c:pt idx="215" formatCode="General">
                  <c:v>21.13</c:v>
                </c:pt>
                <c:pt idx="216" formatCode="General">
                  <c:v>22.23</c:v>
                </c:pt>
                <c:pt idx="217" formatCode="General">
                  <c:v>22.11</c:v>
                </c:pt>
                <c:pt idx="218" formatCode="General">
                  <c:v>22.45</c:v>
                </c:pt>
                <c:pt idx="219" formatCode="General">
                  <c:v>20.66</c:v>
                </c:pt>
                <c:pt idx="220" formatCode="General">
                  <c:v>23.01</c:v>
                </c:pt>
                <c:pt idx="221" formatCode="General">
                  <c:v>22.94</c:v>
                </c:pt>
                <c:pt idx="222" formatCode="General">
                  <c:v>22.5</c:v>
                </c:pt>
                <c:pt idx="223" formatCode="General">
                  <c:v>22.84</c:v>
                </c:pt>
                <c:pt idx="224" formatCode="General">
                  <c:v>20.48</c:v>
                </c:pt>
                <c:pt idx="225" formatCode="General">
                  <c:v>23.5</c:v>
                </c:pt>
                <c:pt idx="226" formatCode="General">
                  <c:v>26.37</c:v>
                </c:pt>
                <c:pt idx="227" formatCode="General">
                  <c:v>23.6</c:v>
                </c:pt>
                <c:pt idx="232" formatCode="General">
                  <c:v>21.46</c:v>
                </c:pt>
                <c:pt idx="233" formatCode="General">
                  <c:v>26.24</c:v>
                </c:pt>
                <c:pt idx="234" formatCode="General">
                  <c:v>24.1</c:v>
                </c:pt>
                <c:pt idx="235" formatCode="General">
                  <c:v>23.88</c:v>
                </c:pt>
                <c:pt idx="236" formatCode="General">
                  <c:v>23.77</c:v>
                </c:pt>
                <c:pt idx="237" formatCode="General">
                  <c:v>23.72</c:v>
                </c:pt>
                <c:pt idx="238" formatCode="General">
                  <c:v>26.84</c:v>
                </c:pt>
                <c:pt idx="239" formatCode="General">
                  <c:v>26.07</c:v>
                </c:pt>
                <c:pt idx="240" formatCode="General">
                  <c:v>26.79</c:v>
                </c:pt>
                <c:pt idx="241" formatCode="General">
                  <c:v>25.62</c:v>
                </c:pt>
                <c:pt idx="242" formatCode="General">
                  <c:v>25.73</c:v>
                </c:pt>
                <c:pt idx="243" formatCode="General">
                  <c:v>28.58</c:v>
                </c:pt>
                <c:pt idx="244" formatCode="General">
                  <c:v>24.69</c:v>
                </c:pt>
                <c:pt idx="245" formatCode="General">
                  <c:v>26.7</c:v>
                </c:pt>
                <c:pt idx="246" formatCode="General">
                  <c:v>24.37</c:v>
                </c:pt>
                <c:pt idx="247" formatCode="General">
                  <c:v>23.13</c:v>
                </c:pt>
                <c:pt idx="248" formatCode="General">
                  <c:v>23.08</c:v>
                </c:pt>
                <c:pt idx="249" formatCode="General">
                  <c:v>21.34</c:v>
                </c:pt>
                <c:pt idx="250" formatCode="General">
                  <c:v>22.49</c:v>
                </c:pt>
                <c:pt idx="251" formatCode="General">
                  <c:v>21.12</c:v>
                </c:pt>
                <c:pt idx="252" formatCode="General">
                  <c:v>19.61</c:v>
                </c:pt>
                <c:pt idx="253" formatCode="General">
                  <c:v>20.72</c:v>
                </c:pt>
                <c:pt idx="254" formatCode="General">
                  <c:v>21.18</c:v>
                </c:pt>
                <c:pt idx="255" formatCode="General">
                  <c:v>21.79</c:v>
                </c:pt>
                <c:pt idx="256" formatCode="General">
                  <c:v>21.22</c:v>
                </c:pt>
                <c:pt idx="257" formatCode="General">
                  <c:v>20.75</c:v>
                </c:pt>
                <c:pt idx="258" formatCode="General">
                  <c:v>21.18</c:v>
                </c:pt>
                <c:pt idx="259" formatCode="General">
                  <c:v>22.98</c:v>
                </c:pt>
                <c:pt idx="260" formatCode="General">
                  <c:v>20.55</c:v>
                </c:pt>
                <c:pt idx="261" formatCode="General">
                  <c:v>20.2</c:v>
                </c:pt>
                <c:pt idx="262" formatCode="General">
                  <c:v>20.190000000000001</c:v>
                </c:pt>
                <c:pt idx="263" formatCode="General">
                  <c:v>21.14</c:v>
                </c:pt>
                <c:pt idx="264" formatCode="General">
                  <c:v>20.54</c:v>
                </c:pt>
                <c:pt idx="265" formatCode="General">
                  <c:v>23.22</c:v>
                </c:pt>
                <c:pt idx="266" formatCode="General">
                  <c:v>19.940000000000001</c:v>
                </c:pt>
                <c:pt idx="267" formatCode="General">
                  <c:v>20.66</c:v>
                </c:pt>
                <c:pt idx="268" formatCode="General">
                  <c:v>19.41</c:v>
                </c:pt>
                <c:pt idx="269" formatCode="General">
                  <c:v>17.46</c:v>
                </c:pt>
                <c:pt idx="270" formatCode="General">
                  <c:v>20.85</c:v>
                </c:pt>
                <c:pt idx="271" formatCode="General">
                  <c:v>21.42</c:v>
                </c:pt>
                <c:pt idx="272" formatCode="General">
                  <c:v>21.26</c:v>
                </c:pt>
                <c:pt idx="273" formatCode="General">
                  <c:v>21.88</c:v>
                </c:pt>
                <c:pt idx="274" formatCode="General">
                  <c:v>22.09</c:v>
                </c:pt>
                <c:pt idx="275" formatCode="General">
                  <c:v>22.43</c:v>
                </c:pt>
                <c:pt idx="276" formatCode="General">
                  <c:v>24</c:v>
                </c:pt>
                <c:pt idx="277" formatCode="General">
                  <c:v>21.92</c:v>
                </c:pt>
                <c:pt idx="278" formatCode="General">
                  <c:v>20.94</c:v>
                </c:pt>
                <c:pt idx="279" formatCode="General">
                  <c:v>22.19</c:v>
                </c:pt>
                <c:pt idx="280" formatCode="General">
                  <c:v>23.13</c:v>
                </c:pt>
                <c:pt idx="281" formatCode="General">
                  <c:v>22.93</c:v>
                </c:pt>
                <c:pt idx="282" formatCode="General">
                  <c:v>22.97</c:v>
                </c:pt>
                <c:pt idx="283" formatCode="General">
                  <c:v>22.48</c:v>
                </c:pt>
                <c:pt idx="284" formatCode="General">
                  <c:v>23.16</c:v>
                </c:pt>
                <c:pt idx="285" formatCode="General">
                  <c:v>22.08</c:v>
                </c:pt>
                <c:pt idx="286" formatCode="General">
                  <c:v>21.74</c:v>
                </c:pt>
                <c:pt idx="287" formatCode="General">
                  <c:v>23.72</c:v>
                </c:pt>
                <c:pt idx="288" formatCode="General">
                  <c:v>23.54</c:v>
                </c:pt>
                <c:pt idx="289" formatCode="General">
                  <c:v>24.4</c:v>
                </c:pt>
                <c:pt idx="290" formatCode="General">
                  <c:v>25.41</c:v>
                </c:pt>
                <c:pt idx="291" formatCode="General">
                  <c:v>21.43</c:v>
                </c:pt>
                <c:pt idx="292" formatCode="General">
                  <c:v>22.6</c:v>
                </c:pt>
                <c:pt idx="293" formatCode="General">
                  <c:v>23.76</c:v>
                </c:pt>
                <c:pt idx="294" formatCode="General">
                  <c:v>23.03</c:v>
                </c:pt>
                <c:pt idx="295" formatCode="General">
                  <c:v>23.2</c:v>
                </c:pt>
                <c:pt idx="296" formatCode="General">
                  <c:v>20.98</c:v>
                </c:pt>
                <c:pt idx="297" formatCode="General">
                  <c:v>24.03</c:v>
                </c:pt>
                <c:pt idx="298" formatCode="General">
                  <c:v>21.37</c:v>
                </c:pt>
                <c:pt idx="299" formatCode="General">
                  <c:v>22.81</c:v>
                </c:pt>
                <c:pt idx="300" formatCode="General">
                  <c:v>22.98</c:v>
                </c:pt>
                <c:pt idx="301" formatCode="General">
                  <c:v>20.28</c:v>
                </c:pt>
                <c:pt idx="302" formatCode="General">
                  <c:v>20.97</c:v>
                </c:pt>
                <c:pt idx="303" formatCode="General">
                  <c:v>21.15</c:v>
                </c:pt>
                <c:pt idx="304" formatCode="General">
                  <c:v>19.170000000000002</c:v>
                </c:pt>
                <c:pt idx="305" formatCode="General">
                  <c:v>19</c:v>
                </c:pt>
                <c:pt idx="306" formatCode="General">
                  <c:v>18.37</c:v>
                </c:pt>
                <c:pt idx="307" formatCode="General">
                  <c:v>17.95</c:v>
                </c:pt>
                <c:pt idx="308" formatCode="General">
                  <c:v>17.2</c:v>
                </c:pt>
                <c:pt idx="309" formatCode="General">
                  <c:v>17.18</c:v>
                </c:pt>
                <c:pt idx="310" formatCode="General">
                  <c:v>20.03</c:v>
                </c:pt>
                <c:pt idx="311" formatCode="General">
                  <c:v>17.82</c:v>
                </c:pt>
                <c:pt idx="312" formatCode="General">
                  <c:v>20.21</c:v>
                </c:pt>
                <c:pt idx="313" formatCode="General">
                  <c:v>20.52</c:v>
                </c:pt>
                <c:pt idx="314" formatCode="General">
                  <c:v>20.87</c:v>
                </c:pt>
                <c:pt idx="315" formatCode="General">
                  <c:v>20.57</c:v>
                </c:pt>
                <c:pt idx="316" formatCode="General">
                  <c:v>21.17</c:v>
                </c:pt>
                <c:pt idx="317" formatCode="General">
                  <c:v>19.100000000000001</c:v>
                </c:pt>
                <c:pt idx="318" formatCode="General">
                  <c:v>20.71</c:v>
                </c:pt>
                <c:pt idx="319" formatCode="General">
                  <c:v>19.309999999999999</c:v>
                </c:pt>
                <c:pt idx="320" formatCode="General">
                  <c:v>18.989999999999998</c:v>
                </c:pt>
                <c:pt idx="321" formatCode="General">
                  <c:v>20.3</c:v>
                </c:pt>
                <c:pt idx="322" formatCode="General">
                  <c:v>20.54</c:v>
                </c:pt>
                <c:pt idx="323" formatCode="General">
                  <c:v>21.47</c:v>
                </c:pt>
                <c:pt idx="324" formatCode="General">
                  <c:v>21.42</c:v>
                </c:pt>
                <c:pt idx="325" formatCode="General">
                  <c:v>20.97</c:v>
                </c:pt>
                <c:pt idx="326" formatCode="General">
                  <c:v>23.41</c:v>
                </c:pt>
                <c:pt idx="327" formatCode="General">
                  <c:v>22.61</c:v>
                </c:pt>
                <c:pt idx="328" formatCode="General">
                  <c:v>22.66</c:v>
                </c:pt>
                <c:pt idx="329" formatCode="General">
                  <c:v>22.14</c:v>
                </c:pt>
                <c:pt idx="330" formatCode="General">
                  <c:v>22.9</c:v>
                </c:pt>
                <c:pt idx="331" formatCode="General">
                  <c:v>21.39</c:v>
                </c:pt>
                <c:pt idx="332" formatCode="General">
                  <c:v>22.56</c:v>
                </c:pt>
                <c:pt idx="333" formatCode="General">
                  <c:v>20.36</c:v>
                </c:pt>
                <c:pt idx="334" formatCode="General">
                  <c:v>23.03</c:v>
                </c:pt>
                <c:pt idx="335" formatCode="General">
                  <c:v>23.77</c:v>
                </c:pt>
                <c:pt idx="336" formatCode="General">
                  <c:v>23.11</c:v>
                </c:pt>
                <c:pt idx="337" formatCode="General">
                  <c:v>23.15</c:v>
                </c:pt>
                <c:pt idx="338" formatCode="General">
                  <c:v>24.25</c:v>
                </c:pt>
                <c:pt idx="339" formatCode="General">
                  <c:v>22.8</c:v>
                </c:pt>
                <c:pt idx="340" formatCode="General">
                  <c:v>24.54</c:v>
                </c:pt>
                <c:pt idx="341" formatCode="General">
                  <c:v>27.26</c:v>
                </c:pt>
                <c:pt idx="342" formatCode="General">
                  <c:v>24.38</c:v>
                </c:pt>
                <c:pt idx="343" formatCode="General">
                  <c:v>25.66</c:v>
                </c:pt>
                <c:pt idx="344" formatCode="General">
                  <c:v>26.5</c:v>
                </c:pt>
                <c:pt idx="345" formatCode="General">
                  <c:v>25.48</c:v>
                </c:pt>
                <c:pt idx="346" formatCode="General">
                  <c:v>24.02</c:v>
                </c:pt>
                <c:pt idx="347" formatCode="General">
                  <c:v>24.69</c:v>
                </c:pt>
                <c:pt idx="348" formatCode="General">
                  <c:v>23.65</c:v>
                </c:pt>
                <c:pt idx="349" formatCode="General">
                  <c:v>21.63</c:v>
                </c:pt>
                <c:pt idx="350" formatCode="General">
                  <c:v>21.58</c:v>
                </c:pt>
                <c:pt idx="351" formatCode="General">
                  <c:v>21.6</c:v>
                </c:pt>
                <c:pt idx="352" formatCode="General">
                  <c:v>21.26</c:v>
                </c:pt>
                <c:pt idx="353" formatCode="General">
                  <c:v>21.66</c:v>
                </c:pt>
                <c:pt idx="354" formatCode="General">
                  <c:v>20.6</c:v>
                </c:pt>
                <c:pt idx="355" formatCode="General">
                  <c:v>20.68</c:v>
                </c:pt>
                <c:pt idx="356" formatCode="General">
                  <c:v>20.37</c:v>
                </c:pt>
                <c:pt idx="357" formatCode="General">
                  <c:v>21.19</c:v>
                </c:pt>
                <c:pt idx="358" formatCode="General">
                  <c:v>21.05</c:v>
                </c:pt>
                <c:pt idx="359" formatCode="General">
                  <c:v>23.77</c:v>
                </c:pt>
                <c:pt idx="360" formatCode="General">
                  <c:v>20.99</c:v>
                </c:pt>
                <c:pt idx="361" formatCode="General">
                  <c:v>23.05</c:v>
                </c:pt>
                <c:pt idx="362" formatCode="General">
                  <c:v>22.44</c:v>
                </c:pt>
                <c:pt idx="363" formatCode="General">
                  <c:v>21.04</c:v>
                </c:pt>
                <c:pt idx="364" formatCode="General">
                  <c:v>22.07</c:v>
                </c:pt>
                <c:pt idx="365" formatCode="General">
                  <c:v>22.29</c:v>
                </c:pt>
                <c:pt idx="366" formatCode="General">
                  <c:v>21.66</c:v>
                </c:pt>
                <c:pt idx="367" formatCode="General">
                  <c:v>22.41</c:v>
                </c:pt>
                <c:pt idx="368" formatCode="General">
                  <c:v>24.94</c:v>
                </c:pt>
                <c:pt idx="369" formatCode="General">
                  <c:v>24.07</c:v>
                </c:pt>
                <c:pt idx="370" formatCode="General">
                  <c:v>23.2</c:v>
                </c:pt>
                <c:pt idx="371" formatCode="General">
                  <c:v>22.16</c:v>
                </c:pt>
                <c:pt idx="372" formatCode="General">
                  <c:v>23.53</c:v>
                </c:pt>
                <c:pt idx="373" formatCode="General">
                  <c:v>23.42</c:v>
                </c:pt>
                <c:pt idx="374" formatCode="General">
                  <c:v>23.33</c:v>
                </c:pt>
                <c:pt idx="375" formatCode="General">
                  <c:v>24.34</c:v>
                </c:pt>
                <c:pt idx="376" formatCode="General">
                  <c:v>24.72</c:v>
                </c:pt>
                <c:pt idx="377" formatCode="General">
                  <c:v>25.17</c:v>
                </c:pt>
                <c:pt idx="378" formatCode="General">
                  <c:v>25.05</c:v>
                </c:pt>
                <c:pt idx="379" formatCode="General">
                  <c:v>26.11</c:v>
                </c:pt>
                <c:pt idx="380" formatCode="General">
                  <c:v>26.32</c:v>
                </c:pt>
                <c:pt idx="381" formatCode="General">
                  <c:v>27.17</c:v>
                </c:pt>
                <c:pt idx="382" formatCode="General">
                  <c:v>26.03</c:v>
                </c:pt>
                <c:pt idx="383" formatCode="General">
                  <c:v>25.58</c:v>
                </c:pt>
                <c:pt idx="385" formatCode="General">
                  <c:v>28.65</c:v>
                </c:pt>
                <c:pt idx="386" formatCode="General">
                  <c:v>29.56</c:v>
                </c:pt>
                <c:pt idx="387" formatCode="General">
                  <c:v>30.6</c:v>
                </c:pt>
                <c:pt idx="388" formatCode="General">
                  <c:v>31.17</c:v>
                </c:pt>
                <c:pt idx="389" formatCode="General">
                  <c:v>31.18</c:v>
                </c:pt>
                <c:pt idx="390" formatCode="General">
                  <c:v>29.18</c:v>
                </c:pt>
                <c:pt idx="391" formatCode="General">
                  <c:v>30.28</c:v>
                </c:pt>
                <c:pt idx="392" formatCode="General">
                  <c:v>30.64</c:v>
                </c:pt>
                <c:pt idx="393" formatCode="General">
                  <c:v>25.99</c:v>
                </c:pt>
                <c:pt idx="394" formatCode="General">
                  <c:v>26.99</c:v>
                </c:pt>
                <c:pt idx="395" formatCode="General">
                  <c:v>28.64</c:v>
                </c:pt>
                <c:pt idx="396" formatCode="General">
                  <c:v>26.64</c:v>
                </c:pt>
                <c:pt idx="397" formatCode="General">
                  <c:v>25.47</c:v>
                </c:pt>
                <c:pt idx="398" formatCode="General">
                  <c:v>24.39</c:v>
                </c:pt>
                <c:pt idx="399" formatCode="General">
                  <c:v>24.59</c:v>
                </c:pt>
                <c:pt idx="400" formatCode="General">
                  <c:v>25.19</c:v>
                </c:pt>
                <c:pt idx="401" formatCode="General">
                  <c:v>22.16</c:v>
                </c:pt>
                <c:pt idx="402" formatCode="General">
                  <c:v>24.76</c:v>
                </c:pt>
                <c:pt idx="403" formatCode="General">
                  <c:v>25.86</c:v>
                </c:pt>
                <c:pt idx="404" formatCode="General">
                  <c:v>25.98</c:v>
                </c:pt>
                <c:pt idx="405" formatCode="General">
                  <c:v>25.64</c:v>
                </c:pt>
                <c:pt idx="406" formatCode="General">
                  <c:v>23.68</c:v>
                </c:pt>
                <c:pt idx="407" formatCode="General">
                  <c:v>26.96</c:v>
                </c:pt>
                <c:pt idx="408" formatCode="General">
                  <c:v>25.35</c:v>
                </c:pt>
                <c:pt idx="409" formatCode="General">
                  <c:v>26.23</c:v>
                </c:pt>
                <c:pt idx="410" formatCode="General">
                  <c:v>26.81</c:v>
                </c:pt>
                <c:pt idx="411" formatCode="General">
                  <c:v>25.5</c:v>
                </c:pt>
                <c:pt idx="412" formatCode="General">
                  <c:v>26.18</c:v>
                </c:pt>
                <c:pt idx="413" formatCode="General">
                  <c:v>25.52</c:v>
                </c:pt>
              </c:numCache>
            </c:numRef>
          </c:val>
          <c:smooth val="0"/>
          <c:extLst>
            <c:ext xmlns:c16="http://schemas.microsoft.com/office/drawing/2014/chart" uri="{C3380CC4-5D6E-409C-BE32-E72D297353CC}">
              <c16:uniqueId val="{00000000-98FE-4DA9-AE3B-36BA1CF82425}"/>
            </c:ext>
          </c:extLst>
        </c:ser>
        <c:dLbls>
          <c:showLegendKey val="0"/>
          <c:showVal val="0"/>
          <c:showCatName val="0"/>
          <c:showSerName val="0"/>
          <c:showPercent val="0"/>
          <c:showBubbleSize val="0"/>
        </c:dLbls>
        <c:smooth val="0"/>
        <c:axId val="1222315999"/>
        <c:axId val="1"/>
      </c:lineChart>
      <c:catAx>
        <c:axId val="1222315999"/>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2315999"/>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Cows
</a:t>
            </a:r>
          </a:p>
        </c:rich>
      </c:tx>
      <c:overlay val="0"/>
    </c:title>
    <c:autoTitleDeleted val="0"/>
    <c:plotArea>
      <c:layout/>
      <c:lineChart>
        <c:grouping val="standard"/>
        <c:varyColors val="0"/>
        <c:ser>
          <c:idx val="6"/>
          <c:order val="0"/>
          <c:tx>
            <c:strRef>
              <c:f>Summary!$M$3</c:f>
              <c:strCache>
                <c:ptCount val="1"/>
                <c:pt idx="0">
                  <c:v>Cows</c:v>
                </c:pt>
              </c:strCache>
            </c:strRef>
          </c:tx>
          <c:spPr>
            <a:ln w="12700">
              <a:solidFill>
                <a:schemeClr val="tx1"/>
              </a:solidFill>
            </a:ln>
          </c:spPr>
          <c:marker>
            <c:symbol val="none"/>
          </c:marker>
          <c:cat>
            <c:numRef>
              <c:f>Summary!$B$4:$B$801</c:f>
              <c:numCache>
                <c:formatCode>General</c:formatCode>
                <c:ptCount val="798"/>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M$4:$M$810</c:f>
              <c:numCache>
                <c:formatCode>0.00</c:formatCode>
                <c:ptCount val="807"/>
                <c:pt idx="0">
                  <c:v>10.9</c:v>
                </c:pt>
                <c:pt idx="1">
                  <c:v>10.48</c:v>
                </c:pt>
                <c:pt idx="2">
                  <c:v>10.35</c:v>
                </c:pt>
                <c:pt idx="3">
                  <c:v>10.09</c:v>
                </c:pt>
                <c:pt idx="4">
                  <c:v>9.69</c:v>
                </c:pt>
                <c:pt idx="5">
                  <c:v>9.49</c:v>
                </c:pt>
                <c:pt idx="6">
                  <c:v>9.32</c:v>
                </c:pt>
                <c:pt idx="7">
                  <c:v>9.35</c:v>
                </c:pt>
                <c:pt idx="8">
                  <c:v>9.1999999999999993</c:v>
                </c:pt>
                <c:pt idx="9">
                  <c:v>9.1999999999999993</c:v>
                </c:pt>
                <c:pt idx="10">
                  <c:v>9.56</c:v>
                </c:pt>
                <c:pt idx="11">
                  <c:v>9.86</c:v>
                </c:pt>
                <c:pt idx="12">
                  <c:v>9.34</c:v>
                </c:pt>
                <c:pt idx="13">
                  <c:v>9.65</c:v>
                </c:pt>
                <c:pt idx="14">
                  <c:v>10.199999999999999</c:v>
                </c:pt>
                <c:pt idx="15">
                  <c:v>10.57</c:v>
                </c:pt>
                <c:pt idx="16">
                  <c:v>10.28</c:v>
                </c:pt>
                <c:pt idx="17">
                  <c:v>10.24</c:v>
                </c:pt>
                <c:pt idx="18">
                  <c:v>10.24</c:v>
                </c:pt>
                <c:pt idx="19">
                  <c:v>10.29</c:v>
                </c:pt>
                <c:pt idx="20">
                  <c:v>10.210000000000001</c:v>
                </c:pt>
                <c:pt idx="21">
                  <c:v>9.01</c:v>
                </c:pt>
                <c:pt idx="22">
                  <c:v>10</c:v>
                </c:pt>
                <c:pt idx="23">
                  <c:v>9.9499999999999993</c:v>
                </c:pt>
                <c:pt idx="24">
                  <c:v>10.28</c:v>
                </c:pt>
                <c:pt idx="25">
                  <c:v>10.16</c:v>
                </c:pt>
                <c:pt idx="26">
                  <c:v>9.91</c:v>
                </c:pt>
                <c:pt idx="27">
                  <c:v>9.99</c:v>
                </c:pt>
                <c:pt idx="28">
                  <c:v>10.130000000000001</c:v>
                </c:pt>
                <c:pt idx="29">
                  <c:v>10.37</c:v>
                </c:pt>
                <c:pt idx="30">
                  <c:v>10.3</c:v>
                </c:pt>
                <c:pt idx="31">
                  <c:v>8.2799999999999994</c:v>
                </c:pt>
                <c:pt idx="32">
                  <c:v>9.1999999999999993</c:v>
                </c:pt>
                <c:pt idx="33">
                  <c:v>10.62</c:v>
                </c:pt>
                <c:pt idx="34">
                  <c:v>10.23</c:v>
                </c:pt>
                <c:pt idx="35">
                  <c:v>10.42</c:v>
                </c:pt>
                <c:pt idx="36">
                  <c:v>10.28</c:v>
                </c:pt>
                <c:pt idx="37">
                  <c:v>10.23</c:v>
                </c:pt>
                <c:pt idx="38">
                  <c:v>10.19</c:v>
                </c:pt>
                <c:pt idx="39">
                  <c:v>10.43</c:v>
                </c:pt>
                <c:pt idx="40">
                  <c:v>10.210000000000001</c:v>
                </c:pt>
                <c:pt idx="41">
                  <c:v>10.69</c:v>
                </c:pt>
                <c:pt idx="42">
                  <c:v>10.79</c:v>
                </c:pt>
                <c:pt idx="43">
                  <c:v>10.99</c:v>
                </c:pt>
                <c:pt idx="44">
                  <c:v>11.17</c:v>
                </c:pt>
                <c:pt idx="45">
                  <c:v>11.01</c:v>
                </c:pt>
                <c:pt idx="46">
                  <c:v>10.66</c:v>
                </c:pt>
                <c:pt idx="47">
                  <c:v>12.16</c:v>
                </c:pt>
                <c:pt idx="48">
                  <c:v>11.71</c:v>
                </c:pt>
                <c:pt idx="49">
                  <c:v>11.2</c:v>
                </c:pt>
                <c:pt idx="50">
                  <c:v>11.2</c:v>
                </c:pt>
                <c:pt idx="51">
                  <c:v>11.21</c:v>
                </c:pt>
                <c:pt idx="52">
                  <c:v>11.01</c:v>
                </c:pt>
                <c:pt idx="53">
                  <c:v>10.81</c:v>
                </c:pt>
                <c:pt idx="54">
                  <c:v>10.46</c:v>
                </c:pt>
                <c:pt idx="55">
                  <c:v>10.61</c:v>
                </c:pt>
                <c:pt idx="56">
                  <c:v>10.98</c:v>
                </c:pt>
                <c:pt idx="57">
                  <c:v>10.74</c:v>
                </c:pt>
                <c:pt idx="58">
                  <c:v>10.73</c:v>
                </c:pt>
                <c:pt idx="59">
                  <c:v>11.46</c:v>
                </c:pt>
                <c:pt idx="60">
                  <c:v>11.72</c:v>
                </c:pt>
                <c:pt idx="61">
                  <c:v>11.23</c:v>
                </c:pt>
                <c:pt idx="62">
                  <c:v>11.48</c:v>
                </c:pt>
                <c:pt idx="63">
                  <c:v>11.49</c:v>
                </c:pt>
                <c:pt idx="64">
                  <c:v>11.36</c:v>
                </c:pt>
                <c:pt idx="65">
                  <c:v>11.34</c:v>
                </c:pt>
                <c:pt idx="66">
                  <c:v>11.44</c:v>
                </c:pt>
                <c:pt idx="67">
                  <c:v>10.8</c:v>
                </c:pt>
                <c:pt idx="68">
                  <c:v>12.05</c:v>
                </c:pt>
                <c:pt idx="69">
                  <c:v>11.6</c:v>
                </c:pt>
                <c:pt idx="70">
                  <c:v>12.16</c:v>
                </c:pt>
                <c:pt idx="71">
                  <c:v>12.66</c:v>
                </c:pt>
                <c:pt idx="72">
                  <c:v>12.32</c:v>
                </c:pt>
                <c:pt idx="73">
                  <c:v>12.9</c:v>
                </c:pt>
                <c:pt idx="74">
                  <c:v>12.74</c:v>
                </c:pt>
                <c:pt idx="75">
                  <c:v>12.31</c:v>
                </c:pt>
                <c:pt idx="76">
                  <c:v>12.31</c:v>
                </c:pt>
                <c:pt idx="77">
                  <c:v>13.13</c:v>
                </c:pt>
                <c:pt idx="78">
                  <c:v>12.91</c:v>
                </c:pt>
                <c:pt idx="79">
                  <c:v>13.14</c:v>
                </c:pt>
                <c:pt idx="80">
                  <c:v>13.09</c:v>
                </c:pt>
                <c:pt idx="81">
                  <c:v>12.63</c:v>
                </c:pt>
                <c:pt idx="82">
                  <c:v>12.98</c:v>
                </c:pt>
                <c:pt idx="83">
                  <c:v>13.54</c:v>
                </c:pt>
                <c:pt idx="84">
                  <c:v>14.53</c:v>
                </c:pt>
                <c:pt idx="85">
                  <c:v>14.68</c:v>
                </c:pt>
                <c:pt idx="86">
                  <c:v>14.86</c:v>
                </c:pt>
                <c:pt idx="87">
                  <c:v>14.85</c:v>
                </c:pt>
                <c:pt idx="88">
                  <c:v>15.17</c:v>
                </c:pt>
                <c:pt idx="89">
                  <c:v>14.28</c:v>
                </c:pt>
                <c:pt idx="90">
                  <c:v>13.1</c:v>
                </c:pt>
                <c:pt idx="91">
                  <c:v>14.38</c:v>
                </c:pt>
                <c:pt idx="92">
                  <c:v>13.96</c:v>
                </c:pt>
                <c:pt idx="93">
                  <c:v>14</c:v>
                </c:pt>
                <c:pt idx="94">
                  <c:v>13.77</c:v>
                </c:pt>
                <c:pt idx="95">
                  <c:v>12.73</c:v>
                </c:pt>
                <c:pt idx="96">
                  <c:v>13.24</c:v>
                </c:pt>
                <c:pt idx="97">
                  <c:v>12.73</c:v>
                </c:pt>
                <c:pt idx="98">
                  <c:v>11.91</c:v>
                </c:pt>
                <c:pt idx="99">
                  <c:v>12.79</c:v>
                </c:pt>
                <c:pt idx="100">
                  <c:v>11.78</c:v>
                </c:pt>
                <c:pt idx="101">
                  <c:v>11.11</c:v>
                </c:pt>
                <c:pt idx="102">
                  <c:v>10.49</c:v>
                </c:pt>
                <c:pt idx="103">
                  <c:v>10.63</c:v>
                </c:pt>
                <c:pt idx="104">
                  <c:v>10.220000000000001</c:v>
                </c:pt>
                <c:pt idx="105" formatCode="General">
                  <c:v>10.57</c:v>
                </c:pt>
                <c:pt idx="106" formatCode="General">
                  <c:v>11.19</c:v>
                </c:pt>
                <c:pt idx="107" formatCode="General">
                  <c:v>10.5</c:v>
                </c:pt>
                <c:pt idx="108" formatCode="General">
                  <c:v>10.17</c:v>
                </c:pt>
                <c:pt idx="109" formatCode="General">
                  <c:v>11.38</c:v>
                </c:pt>
                <c:pt idx="110" formatCode="General">
                  <c:v>10.8</c:v>
                </c:pt>
                <c:pt idx="111" formatCode="General">
                  <c:v>11.39</c:v>
                </c:pt>
                <c:pt idx="112" formatCode="General">
                  <c:v>10.61</c:v>
                </c:pt>
                <c:pt idx="113" formatCode="General">
                  <c:v>11.51</c:v>
                </c:pt>
                <c:pt idx="114" formatCode="General">
                  <c:v>10.9</c:v>
                </c:pt>
                <c:pt idx="115" formatCode="General">
                  <c:v>10.86</c:v>
                </c:pt>
                <c:pt idx="116" formatCode="General">
                  <c:v>11.59</c:v>
                </c:pt>
                <c:pt idx="117" formatCode="General">
                  <c:v>11.01</c:v>
                </c:pt>
                <c:pt idx="118" formatCode="General">
                  <c:v>10.97</c:v>
                </c:pt>
                <c:pt idx="119" formatCode="General">
                  <c:v>10.77</c:v>
                </c:pt>
                <c:pt idx="120" formatCode="General">
                  <c:v>11.07</c:v>
                </c:pt>
                <c:pt idx="121" formatCode="General">
                  <c:v>12.3</c:v>
                </c:pt>
                <c:pt idx="122" formatCode="General">
                  <c:v>11.23</c:v>
                </c:pt>
                <c:pt idx="123" formatCode="General">
                  <c:v>11.39</c:v>
                </c:pt>
                <c:pt idx="124" formatCode="General">
                  <c:v>11.67</c:v>
                </c:pt>
                <c:pt idx="125" formatCode="General">
                  <c:v>12.87</c:v>
                </c:pt>
                <c:pt idx="126" formatCode="General">
                  <c:v>11.82</c:v>
                </c:pt>
                <c:pt idx="127" formatCode="General">
                  <c:v>13.06</c:v>
                </c:pt>
                <c:pt idx="128" formatCode="General">
                  <c:v>12.23</c:v>
                </c:pt>
                <c:pt idx="129" formatCode="General">
                  <c:v>13.23</c:v>
                </c:pt>
                <c:pt idx="130" formatCode="General">
                  <c:v>12.46</c:v>
                </c:pt>
                <c:pt idx="131" formatCode="General">
                  <c:v>12.8</c:v>
                </c:pt>
                <c:pt idx="132" formatCode="General">
                  <c:v>12.17</c:v>
                </c:pt>
                <c:pt idx="133">
                  <c:v>12.86</c:v>
                </c:pt>
                <c:pt idx="134">
                  <c:v>13.44</c:v>
                </c:pt>
                <c:pt idx="135">
                  <c:v>12.65</c:v>
                </c:pt>
                <c:pt idx="136">
                  <c:v>13.73</c:v>
                </c:pt>
                <c:pt idx="137">
                  <c:v>12.82</c:v>
                </c:pt>
                <c:pt idx="138">
                  <c:v>13.33</c:v>
                </c:pt>
                <c:pt idx="139">
                  <c:v>12.39</c:v>
                </c:pt>
                <c:pt idx="140">
                  <c:v>12.94</c:v>
                </c:pt>
                <c:pt idx="141">
                  <c:v>11.72</c:v>
                </c:pt>
                <c:pt idx="142">
                  <c:v>11.89</c:v>
                </c:pt>
                <c:pt idx="143">
                  <c:v>12.16</c:v>
                </c:pt>
                <c:pt idx="144">
                  <c:v>11.44</c:v>
                </c:pt>
                <c:pt idx="145">
                  <c:v>11.04</c:v>
                </c:pt>
                <c:pt idx="146">
                  <c:v>11.04</c:v>
                </c:pt>
                <c:pt idx="147">
                  <c:v>11.31</c:v>
                </c:pt>
                <c:pt idx="148">
                  <c:v>10.56</c:v>
                </c:pt>
                <c:pt idx="149">
                  <c:v>10.09</c:v>
                </c:pt>
                <c:pt idx="150">
                  <c:v>10.72</c:v>
                </c:pt>
                <c:pt idx="151">
                  <c:v>10.14</c:v>
                </c:pt>
                <c:pt idx="152">
                  <c:v>10.039999999999999</c:v>
                </c:pt>
                <c:pt idx="153">
                  <c:v>10.33</c:v>
                </c:pt>
                <c:pt idx="154">
                  <c:v>10.050000000000001</c:v>
                </c:pt>
                <c:pt idx="155">
                  <c:v>11.06</c:v>
                </c:pt>
                <c:pt idx="156">
                  <c:v>11.18</c:v>
                </c:pt>
                <c:pt idx="157">
                  <c:v>11.5</c:v>
                </c:pt>
                <c:pt idx="158">
                  <c:v>11.6</c:v>
                </c:pt>
                <c:pt idx="159">
                  <c:v>11.63</c:v>
                </c:pt>
                <c:pt idx="160">
                  <c:v>11.27</c:v>
                </c:pt>
                <c:pt idx="161">
                  <c:v>10.5</c:v>
                </c:pt>
                <c:pt idx="162">
                  <c:v>11.01</c:v>
                </c:pt>
                <c:pt idx="163">
                  <c:v>10.85</c:v>
                </c:pt>
                <c:pt idx="164">
                  <c:v>10.86</c:v>
                </c:pt>
                <c:pt idx="165">
                  <c:v>11.29</c:v>
                </c:pt>
                <c:pt idx="166">
                  <c:v>11.04</c:v>
                </c:pt>
                <c:pt idx="167">
                  <c:v>11.4</c:v>
                </c:pt>
                <c:pt idx="168">
                  <c:v>11.25</c:v>
                </c:pt>
                <c:pt idx="169">
                  <c:v>11.35</c:v>
                </c:pt>
                <c:pt idx="170">
                  <c:v>11.64</c:v>
                </c:pt>
                <c:pt idx="171">
                  <c:v>11.72</c:v>
                </c:pt>
                <c:pt idx="172">
                  <c:v>11.58</c:v>
                </c:pt>
                <c:pt idx="173">
                  <c:v>11.47</c:v>
                </c:pt>
                <c:pt idx="174">
                  <c:v>12.12</c:v>
                </c:pt>
                <c:pt idx="175">
                  <c:v>12.06</c:v>
                </c:pt>
                <c:pt idx="176">
                  <c:v>11.35</c:v>
                </c:pt>
                <c:pt idx="177">
                  <c:v>11.66</c:v>
                </c:pt>
                <c:pt idx="178">
                  <c:v>12.28</c:v>
                </c:pt>
                <c:pt idx="179">
                  <c:v>10.49</c:v>
                </c:pt>
                <c:pt idx="180">
                  <c:v>11.91</c:v>
                </c:pt>
                <c:pt idx="181">
                  <c:v>12.48</c:v>
                </c:pt>
                <c:pt idx="182">
                  <c:v>11.59</c:v>
                </c:pt>
                <c:pt idx="183">
                  <c:v>12.5</c:v>
                </c:pt>
                <c:pt idx="184">
                  <c:v>12.76</c:v>
                </c:pt>
                <c:pt idx="185">
                  <c:v>12.64</c:v>
                </c:pt>
                <c:pt idx="186">
                  <c:v>13.11</c:v>
                </c:pt>
                <c:pt idx="187">
                  <c:v>12.86</c:v>
                </c:pt>
                <c:pt idx="188">
                  <c:v>12.81</c:v>
                </c:pt>
                <c:pt idx="189">
                  <c:v>12.43</c:v>
                </c:pt>
                <c:pt idx="190">
                  <c:v>12.32</c:v>
                </c:pt>
                <c:pt idx="191">
                  <c:v>11.77</c:v>
                </c:pt>
                <c:pt idx="192" formatCode="#,##0.00">
                  <c:v>12.04</c:v>
                </c:pt>
                <c:pt idx="193" formatCode="#,##0.00">
                  <c:v>11.5</c:v>
                </c:pt>
                <c:pt idx="194" formatCode="#,##0.00">
                  <c:v>11.44</c:v>
                </c:pt>
                <c:pt idx="195" formatCode="#,##0.00">
                  <c:v>10.72</c:v>
                </c:pt>
                <c:pt idx="196" formatCode="#,##0.00">
                  <c:v>11</c:v>
                </c:pt>
                <c:pt idx="197" formatCode="#,##0.00">
                  <c:v>10.96</c:v>
                </c:pt>
                <c:pt idx="198" formatCode="#,##0.00">
                  <c:v>10.87</c:v>
                </c:pt>
                <c:pt idx="199" formatCode="#,##0.00">
                  <c:v>11.01</c:v>
                </c:pt>
                <c:pt idx="200" formatCode="#,##0.00">
                  <c:v>12.16</c:v>
                </c:pt>
                <c:pt idx="201" formatCode="#,##0.00">
                  <c:v>11.62</c:v>
                </c:pt>
                <c:pt idx="202" formatCode="#,##0.00">
                  <c:v>12.12</c:v>
                </c:pt>
                <c:pt idx="203" formatCode="#,##0.00">
                  <c:v>12.1</c:v>
                </c:pt>
                <c:pt idx="204" formatCode="#,##0.00">
                  <c:v>10.97</c:v>
                </c:pt>
                <c:pt idx="205" formatCode="#,##0.00">
                  <c:v>11.16</c:v>
                </c:pt>
                <c:pt idx="206" formatCode="#,##0.00">
                  <c:v>11.22</c:v>
                </c:pt>
                <c:pt idx="207" formatCode="#,##0.00">
                  <c:v>11.42</c:v>
                </c:pt>
                <c:pt idx="208" formatCode="#,##0.00">
                  <c:v>10.61</c:v>
                </c:pt>
                <c:pt idx="209" formatCode="#,##0.00">
                  <c:v>11.11</c:v>
                </c:pt>
                <c:pt idx="210" formatCode="#,##0.00">
                  <c:v>11.15</c:v>
                </c:pt>
                <c:pt idx="211" formatCode="#,##0.00">
                  <c:v>11.37</c:v>
                </c:pt>
                <c:pt idx="212" formatCode="#,##0.00">
                  <c:v>11.36</c:v>
                </c:pt>
                <c:pt idx="213" formatCode="#,##0.00">
                  <c:v>11.95</c:v>
                </c:pt>
                <c:pt idx="214" formatCode="#,##0.00">
                  <c:v>12.44</c:v>
                </c:pt>
                <c:pt idx="215" formatCode="#,##0.00">
                  <c:v>11.4</c:v>
                </c:pt>
                <c:pt idx="216" formatCode="#,##0.00">
                  <c:v>12.42</c:v>
                </c:pt>
                <c:pt idx="217" formatCode="#,##0.00">
                  <c:v>12.8</c:v>
                </c:pt>
                <c:pt idx="218" formatCode="#,##0.00">
                  <c:v>13.06</c:v>
                </c:pt>
                <c:pt idx="219" formatCode="#,##0.00">
                  <c:v>12.99</c:v>
                </c:pt>
                <c:pt idx="220" formatCode="#,##0.00">
                  <c:v>13.37</c:v>
                </c:pt>
                <c:pt idx="221" formatCode="#,##0.00">
                  <c:v>13.11</c:v>
                </c:pt>
                <c:pt idx="222" formatCode="#,##0.00">
                  <c:v>13.43</c:v>
                </c:pt>
                <c:pt idx="223" formatCode="#,##0.00">
                  <c:v>13.9</c:v>
                </c:pt>
                <c:pt idx="224" formatCode="#,##0.00">
                  <c:v>13.1</c:v>
                </c:pt>
                <c:pt idx="225" formatCode="#,##0.00">
                  <c:v>12.95</c:v>
                </c:pt>
                <c:pt idx="226" formatCode="#,##0.00">
                  <c:v>13.32</c:v>
                </c:pt>
                <c:pt idx="227" formatCode="#,##0.00">
                  <c:v>13.2</c:v>
                </c:pt>
                <c:pt idx="228" formatCode="#,##0.00">
                  <c:v>12.92</c:v>
                </c:pt>
                <c:pt idx="229" formatCode="#,##0.00">
                  <c:v>12.91</c:v>
                </c:pt>
                <c:pt idx="230" formatCode="#,##0.00">
                  <c:v>13.78</c:v>
                </c:pt>
                <c:pt idx="231" formatCode="#,##0.00">
                  <c:v>13.44</c:v>
                </c:pt>
                <c:pt idx="232" formatCode="#,##0.00">
                  <c:v>13.59</c:v>
                </c:pt>
                <c:pt idx="233" formatCode="#,##0.00">
                  <c:v>14.04</c:v>
                </c:pt>
                <c:pt idx="234" formatCode="#,##0.00">
                  <c:v>13.56</c:v>
                </c:pt>
                <c:pt idx="235" formatCode="#,##0.00">
                  <c:v>13.8</c:v>
                </c:pt>
                <c:pt idx="236" formatCode="#,##0.00">
                  <c:v>14.13</c:v>
                </c:pt>
                <c:pt idx="237" formatCode="#,##0.00">
                  <c:v>13.71</c:v>
                </c:pt>
                <c:pt idx="238" formatCode="#,##0.00">
                  <c:v>14.06</c:v>
                </c:pt>
                <c:pt idx="239" formatCode="#,##0.00">
                  <c:v>13.37</c:v>
                </c:pt>
                <c:pt idx="240" formatCode="#,##0.00">
                  <c:v>13.75</c:v>
                </c:pt>
                <c:pt idx="241" formatCode="#,##0.00">
                  <c:v>14.01</c:v>
                </c:pt>
                <c:pt idx="242" formatCode="#,##0.00">
                  <c:v>13.52</c:v>
                </c:pt>
                <c:pt idx="243" formatCode="#,##0.00">
                  <c:v>12.67</c:v>
                </c:pt>
                <c:pt idx="244" formatCode="#,##0.00">
                  <c:v>12.99</c:v>
                </c:pt>
                <c:pt idx="245" formatCode="#,##0.00">
                  <c:v>12.81</c:v>
                </c:pt>
                <c:pt idx="246" formatCode="#,##0.00">
                  <c:v>11.59</c:v>
                </c:pt>
                <c:pt idx="247" formatCode="#,##0.00">
                  <c:v>11.77</c:v>
                </c:pt>
                <c:pt idx="248" formatCode="#,##0.00">
                  <c:v>11.79</c:v>
                </c:pt>
                <c:pt idx="249" formatCode="#,##0.00">
                  <c:v>11.45</c:v>
                </c:pt>
                <c:pt idx="250" formatCode="#,##0.00">
                  <c:v>11.43</c:v>
                </c:pt>
                <c:pt idx="251" formatCode="#,##0.00">
                  <c:v>11.7</c:v>
                </c:pt>
                <c:pt idx="252" formatCode="#,##0.00">
                  <c:v>12.15</c:v>
                </c:pt>
                <c:pt idx="253" formatCode="#,##0.00">
                  <c:v>11.69</c:v>
                </c:pt>
                <c:pt idx="254" formatCode="#,##0.00">
                  <c:v>12.81</c:v>
                </c:pt>
                <c:pt idx="255" formatCode="#,##0.00">
                  <c:v>12.63</c:v>
                </c:pt>
                <c:pt idx="256" formatCode="#,##0.00">
                  <c:v>12.62</c:v>
                </c:pt>
                <c:pt idx="257" formatCode="#,##0.00">
                  <c:v>12.32</c:v>
                </c:pt>
                <c:pt idx="258" formatCode="#,##0.00">
                  <c:v>13.09</c:v>
                </c:pt>
                <c:pt idx="259" formatCode="#,##0.00">
                  <c:v>12.92</c:v>
                </c:pt>
                <c:pt idx="260" formatCode="#,##0.00">
                  <c:v>13.02</c:v>
                </c:pt>
                <c:pt idx="261" formatCode="#,##0.00">
                  <c:v>11.81</c:v>
                </c:pt>
                <c:pt idx="262" formatCode="#,##0.00">
                  <c:v>12.67</c:v>
                </c:pt>
                <c:pt idx="263" formatCode="#,##0.00">
                  <c:v>14.84</c:v>
                </c:pt>
                <c:pt idx="264" formatCode="#,##0.00">
                  <c:v>11.53</c:v>
                </c:pt>
                <c:pt idx="265" formatCode="#,##0.00">
                  <c:v>13.01</c:v>
                </c:pt>
                <c:pt idx="266" formatCode="#,##0.00">
                  <c:v>12.81</c:v>
                </c:pt>
                <c:pt idx="267" formatCode="#,##0.00">
                  <c:v>12.85</c:v>
                </c:pt>
                <c:pt idx="268" formatCode="#,##0.00">
                  <c:v>13.28</c:v>
                </c:pt>
                <c:pt idx="269" formatCode="#,##0.00">
                  <c:v>13.47</c:v>
                </c:pt>
                <c:pt idx="270" formatCode="#,##0.00">
                  <c:v>13.3</c:v>
                </c:pt>
                <c:pt idx="271" formatCode="#,##0.00">
                  <c:v>14.09</c:v>
                </c:pt>
                <c:pt idx="272" formatCode="#,##0.00">
                  <c:v>15.18</c:v>
                </c:pt>
                <c:pt idx="273" formatCode="#,##0.00">
                  <c:v>14.94</c:v>
                </c:pt>
                <c:pt idx="274" formatCode="#,##0.00">
                  <c:v>13.92</c:v>
                </c:pt>
                <c:pt idx="275" formatCode="#,##0.00">
                  <c:v>14.14</c:v>
                </c:pt>
                <c:pt idx="276" formatCode="#,##0.00">
                  <c:v>13.57</c:v>
                </c:pt>
                <c:pt idx="277" formatCode="#,##0.00">
                  <c:v>13.85</c:v>
                </c:pt>
                <c:pt idx="278" formatCode="#,##0.00">
                  <c:v>14.16</c:v>
                </c:pt>
                <c:pt idx="279" formatCode="#,##0.00">
                  <c:v>14.36</c:v>
                </c:pt>
                <c:pt idx="280" formatCode="#,##0.00">
                  <c:v>15.04</c:v>
                </c:pt>
                <c:pt idx="281" formatCode="#,##0.00">
                  <c:v>14.26</c:v>
                </c:pt>
                <c:pt idx="282" formatCode="#,##0.00">
                  <c:v>14.8</c:v>
                </c:pt>
                <c:pt idx="283" formatCode="#,##0.00">
                  <c:v>13.84</c:v>
                </c:pt>
                <c:pt idx="284" formatCode="#,##0.00">
                  <c:v>12.75</c:v>
                </c:pt>
                <c:pt idx="285" formatCode="#,##0.00">
                  <c:v>12.28</c:v>
                </c:pt>
                <c:pt idx="286" formatCode="#,##0.00">
                  <c:v>13.5</c:v>
                </c:pt>
                <c:pt idx="287" formatCode="#,##0.00">
                  <c:v>14.31</c:v>
                </c:pt>
                <c:pt idx="288" formatCode="#,##0.00">
                  <c:v>13.24</c:v>
                </c:pt>
                <c:pt idx="289" formatCode="#,##0.00">
                  <c:v>12.87</c:v>
                </c:pt>
                <c:pt idx="290" formatCode="#,##0.00">
                  <c:v>13.32</c:v>
                </c:pt>
                <c:pt idx="291" formatCode="#,##0.00">
                  <c:v>13.66</c:v>
                </c:pt>
                <c:pt idx="292" formatCode="#,##0.00">
                  <c:v>13.31</c:v>
                </c:pt>
                <c:pt idx="293" formatCode="#,##0.00">
                  <c:v>13.73</c:v>
                </c:pt>
                <c:pt idx="294" formatCode="#,##0.00">
                  <c:v>13.41</c:v>
                </c:pt>
                <c:pt idx="295" formatCode="#,##0.00">
                  <c:v>14.32</c:v>
                </c:pt>
                <c:pt idx="296" formatCode="#,##0.00">
                  <c:v>12.95</c:v>
                </c:pt>
                <c:pt idx="297" formatCode="#,##0.00">
                  <c:v>12.99</c:v>
                </c:pt>
                <c:pt idx="298" formatCode="#,##0.00">
                  <c:v>13.35</c:v>
                </c:pt>
                <c:pt idx="299" formatCode="#,##0.00">
                  <c:v>13.39</c:v>
                </c:pt>
                <c:pt idx="300" formatCode="#,##0.00">
                  <c:v>13.1</c:v>
                </c:pt>
                <c:pt idx="301" formatCode="#,##0.00">
                  <c:v>13.66</c:v>
                </c:pt>
                <c:pt idx="302" formatCode="#,##0.00">
                  <c:v>11.49</c:v>
                </c:pt>
                <c:pt idx="303" formatCode="#,##0.00">
                  <c:v>13.28</c:v>
                </c:pt>
                <c:pt idx="304" formatCode="#,##0.00">
                  <c:v>12.73</c:v>
                </c:pt>
                <c:pt idx="305" formatCode="#,##0.00">
                  <c:v>12.94</c:v>
                </c:pt>
                <c:pt idx="306" formatCode="#,##0.00">
                  <c:v>12.82</c:v>
                </c:pt>
                <c:pt idx="307" formatCode="#,##0.00">
                  <c:v>12.34</c:v>
                </c:pt>
                <c:pt idx="308" formatCode="#,##0.00">
                  <c:v>14.25</c:v>
                </c:pt>
                <c:pt idx="309" formatCode="#,##0.00">
                  <c:v>13.04</c:v>
                </c:pt>
                <c:pt idx="310" formatCode="#,##0.00">
                  <c:v>12.93</c:v>
                </c:pt>
                <c:pt idx="311" formatCode="#,##0.00">
                  <c:v>12.65</c:v>
                </c:pt>
                <c:pt idx="312" formatCode="#,##0.00">
                  <c:v>14.43</c:v>
                </c:pt>
                <c:pt idx="313" formatCode="#,##0.00">
                  <c:v>13.55</c:v>
                </c:pt>
                <c:pt idx="314" formatCode="#,##0.00">
                  <c:v>13.21</c:v>
                </c:pt>
                <c:pt idx="315" formatCode="#,##0.00">
                  <c:v>14.13</c:v>
                </c:pt>
                <c:pt idx="316" formatCode="#,##0.00">
                  <c:v>13.33</c:v>
                </c:pt>
                <c:pt idx="317" formatCode="#,##0.00">
                  <c:v>13.57</c:v>
                </c:pt>
                <c:pt idx="318" formatCode="#,##0.00">
                  <c:v>14.03</c:v>
                </c:pt>
                <c:pt idx="319" formatCode="#,##0.00">
                  <c:v>15.1</c:v>
                </c:pt>
                <c:pt idx="320" formatCode="#,##0.00">
                  <c:v>14.51</c:v>
                </c:pt>
                <c:pt idx="321" formatCode="#,##0.00">
                  <c:v>15.02</c:v>
                </c:pt>
                <c:pt idx="322" formatCode="#,##0.00">
                  <c:v>15.32</c:v>
                </c:pt>
                <c:pt idx="323" formatCode="#,##0.00">
                  <c:v>15.24</c:v>
                </c:pt>
                <c:pt idx="324" formatCode="#,##0.00">
                  <c:v>15.27</c:v>
                </c:pt>
                <c:pt idx="325" formatCode="#,##0.00">
                  <c:v>14.81</c:v>
                </c:pt>
                <c:pt idx="326" formatCode="#,##0.00">
                  <c:v>14.76</c:v>
                </c:pt>
                <c:pt idx="327" formatCode="#,##0.00">
                  <c:v>15.07</c:v>
                </c:pt>
                <c:pt idx="328" formatCode="#,##0.00">
                  <c:v>16.04</c:v>
                </c:pt>
                <c:pt idx="329" formatCode="#,##0.00">
                  <c:v>15.77</c:v>
                </c:pt>
                <c:pt idx="330" formatCode="#,##0.00">
                  <c:v>14.45</c:v>
                </c:pt>
                <c:pt idx="331" formatCode="#,##0.00">
                  <c:v>15.93</c:v>
                </c:pt>
                <c:pt idx="332" formatCode="#,##0.00">
                  <c:v>15.5</c:v>
                </c:pt>
                <c:pt idx="333" formatCode="#,##0.00">
                  <c:v>16.23</c:v>
                </c:pt>
                <c:pt idx="334" formatCode="#,##0.00">
                  <c:v>16.239999999999998</c:v>
                </c:pt>
                <c:pt idx="335" formatCode="#,##0.00">
                  <c:v>17.09</c:v>
                </c:pt>
                <c:pt idx="336" formatCode="#,##0.00">
                  <c:v>16.96</c:v>
                </c:pt>
                <c:pt idx="337" formatCode="#,##0.00">
                  <c:v>16.68</c:v>
                </c:pt>
                <c:pt idx="338" formatCode="#,##0.00">
                  <c:v>16.05</c:v>
                </c:pt>
                <c:pt idx="339" formatCode="#,##0.00">
                  <c:v>16.760000000000002</c:v>
                </c:pt>
                <c:pt idx="340" formatCode="#,##0.00">
                  <c:v>16.57</c:v>
                </c:pt>
                <c:pt idx="341" formatCode="#,##0.00">
                  <c:v>16.87</c:v>
                </c:pt>
                <c:pt idx="342" formatCode="#,##0.00">
                  <c:v>16.760000000000002</c:v>
                </c:pt>
                <c:pt idx="343" formatCode="#,##0.00">
                  <c:v>16.87</c:v>
                </c:pt>
                <c:pt idx="344" formatCode="#,##0.00">
                  <c:v>16.36</c:v>
                </c:pt>
                <c:pt idx="345" formatCode="#,##0.00">
                  <c:v>16.690000000000001</c:v>
                </c:pt>
                <c:pt idx="346" formatCode="#,##0.00">
                  <c:v>16.91</c:v>
                </c:pt>
                <c:pt idx="347" formatCode="#,##0.00">
                  <c:v>17.46</c:v>
                </c:pt>
                <c:pt idx="348" formatCode="#,##0.00">
                  <c:v>16.29</c:v>
                </c:pt>
                <c:pt idx="349" formatCode="#,##0.00">
                  <c:v>17.3</c:v>
                </c:pt>
                <c:pt idx="350" formatCode="#,##0.00">
                  <c:v>16.850000000000001</c:v>
                </c:pt>
                <c:pt idx="351" formatCode="#,##0.00">
                  <c:v>17.71</c:v>
                </c:pt>
                <c:pt idx="352" formatCode="#,##0.00">
                  <c:v>18.170000000000002</c:v>
                </c:pt>
                <c:pt idx="353" formatCode="#,##0.00">
                  <c:v>17.420000000000002</c:v>
                </c:pt>
                <c:pt idx="354" formatCode="#,##0.00">
                  <c:v>17.5</c:v>
                </c:pt>
                <c:pt idx="355" formatCode="#,##0.00">
                  <c:v>17.510000000000002</c:v>
                </c:pt>
                <c:pt idx="356" formatCode="#,##0.00">
                  <c:v>18.12</c:v>
                </c:pt>
                <c:pt idx="357" formatCode="#,##0.00">
                  <c:v>17.39</c:v>
                </c:pt>
                <c:pt idx="358" formatCode="#,##0.00">
                  <c:v>17.71</c:v>
                </c:pt>
                <c:pt idx="359" formatCode="#,##0.00">
                  <c:v>18.73</c:v>
                </c:pt>
                <c:pt idx="360" formatCode="#,##0.00">
                  <c:v>18.78</c:v>
                </c:pt>
                <c:pt idx="361" formatCode="#,##0.00">
                  <c:v>19.09</c:v>
                </c:pt>
                <c:pt idx="362" formatCode="#,##0.00">
                  <c:v>19.850000000000001</c:v>
                </c:pt>
                <c:pt idx="363" formatCode="#,##0.00">
                  <c:v>19.75</c:v>
                </c:pt>
                <c:pt idx="364" formatCode="#,##0.00">
                  <c:v>18.34</c:v>
                </c:pt>
                <c:pt idx="365" formatCode="#,##0.00">
                  <c:v>20.350000000000001</c:v>
                </c:pt>
                <c:pt idx="366" formatCode="#,##0.00">
                  <c:v>20.29</c:v>
                </c:pt>
                <c:pt idx="367" formatCode="#,##0.00">
                  <c:v>20.48</c:v>
                </c:pt>
                <c:pt idx="368" formatCode="#,##0.00">
                  <c:v>20.07</c:v>
                </c:pt>
                <c:pt idx="369" formatCode="#,##0.00">
                  <c:v>20.56</c:v>
                </c:pt>
                <c:pt idx="370" formatCode="#,##0.00">
                  <c:v>20.54</c:v>
                </c:pt>
                <c:pt idx="371" formatCode="#,##0.00">
                  <c:v>20.61</c:v>
                </c:pt>
                <c:pt idx="372" formatCode="#,##0.00">
                  <c:v>20.7</c:v>
                </c:pt>
                <c:pt idx="373" formatCode="#,##0.00">
                  <c:v>20.96</c:v>
                </c:pt>
                <c:pt idx="374" formatCode="#,##0.00">
                  <c:v>21.69</c:v>
                </c:pt>
                <c:pt idx="375" formatCode="#,##0.00">
                  <c:v>20.89</c:v>
                </c:pt>
                <c:pt idx="376" formatCode="#,##0.00">
                  <c:v>21.29</c:v>
                </c:pt>
                <c:pt idx="377" formatCode="#,##0.00">
                  <c:v>20.9</c:v>
                </c:pt>
                <c:pt idx="378" formatCode="#,##0.00">
                  <c:v>21.45</c:v>
                </c:pt>
                <c:pt idx="379" formatCode="#,##0.00">
                  <c:v>20.66</c:v>
                </c:pt>
                <c:pt idx="380" formatCode="#,##0.00">
                  <c:v>20.95</c:v>
                </c:pt>
                <c:pt idx="381" formatCode="#,##0.00">
                  <c:v>20.93</c:v>
                </c:pt>
                <c:pt idx="382" formatCode="#,##0.00">
                  <c:v>21.3</c:v>
                </c:pt>
                <c:pt idx="383" formatCode="#,##0.00">
                  <c:v>21.1</c:v>
                </c:pt>
                <c:pt idx="384" formatCode="#,##0.00">
                  <c:v>21.91</c:v>
                </c:pt>
                <c:pt idx="385" formatCode="#,##0.00">
                  <c:v>21.22</c:v>
                </c:pt>
                <c:pt idx="386" formatCode="#,##0.00">
                  <c:v>22.02</c:v>
                </c:pt>
                <c:pt idx="387" formatCode="#,##0.00">
                  <c:v>22.59</c:v>
                </c:pt>
                <c:pt idx="388" formatCode="#,##0.00">
                  <c:v>21.98</c:v>
                </c:pt>
                <c:pt idx="389" formatCode="#,##0.00">
                  <c:v>21.33</c:v>
                </c:pt>
                <c:pt idx="390" formatCode="#,##0.00">
                  <c:v>21.62</c:v>
                </c:pt>
                <c:pt idx="391" formatCode="#,##0.00">
                  <c:v>20.64</c:v>
                </c:pt>
                <c:pt idx="392" formatCode="#,##0.00">
                  <c:v>20.83</c:v>
                </c:pt>
                <c:pt idx="393" formatCode="#,##0.00">
                  <c:v>20.74</c:v>
                </c:pt>
                <c:pt idx="394" formatCode="#,##0.00">
                  <c:v>19.489999999999998</c:v>
                </c:pt>
                <c:pt idx="395" formatCode="#,##0.00">
                  <c:v>19.78</c:v>
                </c:pt>
                <c:pt idx="396" formatCode="#,##0.00">
                  <c:v>20.16</c:v>
                </c:pt>
                <c:pt idx="397" formatCode="#,##0.00">
                  <c:v>19.88</c:v>
                </c:pt>
                <c:pt idx="398" formatCode="#,##0.00">
                  <c:v>20.100000000000001</c:v>
                </c:pt>
                <c:pt idx="399" formatCode="#,##0.00">
                  <c:v>20.010000000000002</c:v>
                </c:pt>
                <c:pt idx="400" formatCode="#,##0.00">
                  <c:v>19.739999999999998</c:v>
                </c:pt>
                <c:pt idx="401" formatCode="#,##0.00">
                  <c:v>19.649999999999999</c:v>
                </c:pt>
                <c:pt idx="402" formatCode="#,##0.00">
                  <c:v>22.59</c:v>
                </c:pt>
                <c:pt idx="403" formatCode="#,##0.00">
                  <c:v>19.559999999999999</c:v>
                </c:pt>
                <c:pt idx="404" formatCode="#,##0.00">
                  <c:v>20.2</c:v>
                </c:pt>
                <c:pt idx="405" formatCode="#,##0.00">
                  <c:v>20.34</c:v>
                </c:pt>
                <c:pt idx="406" formatCode="#,##0.00">
                  <c:v>20.309999999999999</c:v>
                </c:pt>
                <c:pt idx="407" formatCode="#,##0.00">
                  <c:v>20.94</c:v>
                </c:pt>
                <c:pt idx="408" formatCode="#,##0.00">
                  <c:v>19.989999999999998</c:v>
                </c:pt>
                <c:pt idx="409" formatCode="#,##0.00">
                  <c:v>19.579999999999998</c:v>
                </c:pt>
                <c:pt idx="410" formatCode="#,##0.00">
                  <c:v>19.79</c:v>
                </c:pt>
                <c:pt idx="411" formatCode="#,##0.00">
                  <c:v>13.47</c:v>
                </c:pt>
                <c:pt idx="412" formatCode="#,##0.00">
                  <c:v>19.260000000000002</c:v>
                </c:pt>
                <c:pt idx="413" formatCode="#,##0.00">
                  <c:v>20.14</c:v>
                </c:pt>
                <c:pt idx="414" formatCode="#,##0.00">
                  <c:v>19.96</c:v>
                </c:pt>
                <c:pt idx="415" formatCode="#,##0.00">
                  <c:v>20.67</c:v>
                </c:pt>
                <c:pt idx="416" formatCode="#,##0.00">
                  <c:v>20.36</c:v>
                </c:pt>
                <c:pt idx="417" formatCode="#,##0.00">
                  <c:v>20.98</c:v>
                </c:pt>
                <c:pt idx="418" formatCode="#,##0.00">
                  <c:v>21.29</c:v>
                </c:pt>
                <c:pt idx="419" formatCode="#,##0.00">
                  <c:v>21.17</c:v>
                </c:pt>
                <c:pt idx="420" formatCode="#,##0.00">
                  <c:v>21.12</c:v>
                </c:pt>
                <c:pt idx="421" formatCode="#,##0.00">
                  <c:v>21.32</c:v>
                </c:pt>
                <c:pt idx="422" formatCode="#,##0.00">
                  <c:v>21.35</c:v>
                </c:pt>
                <c:pt idx="423" formatCode="#,##0.00">
                  <c:v>21.49</c:v>
                </c:pt>
                <c:pt idx="424" formatCode="#,##0.00">
                  <c:v>21.76</c:v>
                </c:pt>
                <c:pt idx="425" formatCode="#,##0.00">
                  <c:v>21.07</c:v>
                </c:pt>
                <c:pt idx="426" formatCode="#,##0.00">
                  <c:v>22.23</c:v>
                </c:pt>
                <c:pt idx="427" formatCode="#,##0.00">
                  <c:v>22.14</c:v>
                </c:pt>
                <c:pt idx="428" formatCode="#,##0.00">
                  <c:v>21.6</c:v>
                </c:pt>
                <c:pt idx="429" formatCode="#,##0.00">
                  <c:v>21.32</c:v>
                </c:pt>
                <c:pt idx="430" formatCode="#,##0.00">
                  <c:v>21.69</c:v>
                </c:pt>
                <c:pt idx="431" formatCode="#,##0.00">
                  <c:v>21.66</c:v>
                </c:pt>
                <c:pt idx="432" formatCode="#,##0.00">
                  <c:v>21.98</c:v>
                </c:pt>
                <c:pt idx="433" formatCode="#,##0.00">
                  <c:v>21.12</c:v>
                </c:pt>
                <c:pt idx="434" formatCode="#,##0.00">
                  <c:v>21.41</c:v>
                </c:pt>
                <c:pt idx="435" formatCode="#,##0.00">
                  <c:v>20.69</c:v>
                </c:pt>
                <c:pt idx="436" formatCode="#,##0.00">
                  <c:v>21.65</c:v>
                </c:pt>
                <c:pt idx="437" formatCode="#,##0.00">
                  <c:v>22.48</c:v>
                </c:pt>
                <c:pt idx="439" formatCode="#,##0.00">
                  <c:v>21.37</c:v>
                </c:pt>
                <c:pt idx="440" formatCode="#,##0.00">
                  <c:v>20.48</c:v>
                </c:pt>
                <c:pt idx="441" formatCode="#,##0.00">
                  <c:v>19.940000000000001</c:v>
                </c:pt>
                <c:pt idx="442" formatCode="#,##0.00">
                  <c:v>20.11</c:v>
                </c:pt>
                <c:pt idx="443" formatCode="#,##0.00">
                  <c:v>20.56</c:v>
                </c:pt>
                <c:pt idx="444" formatCode="#,##0.00">
                  <c:v>20.34</c:v>
                </c:pt>
                <c:pt idx="445" formatCode="#,##0.00">
                  <c:v>20.239999999999998</c:v>
                </c:pt>
                <c:pt idx="446" formatCode="#,##0.00">
                  <c:v>19.440000000000001</c:v>
                </c:pt>
                <c:pt idx="447" formatCode="#,##0.00">
                  <c:v>19.510000000000002</c:v>
                </c:pt>
                <c:pt idx="448" formatCode="#,##0.00">
                  <c:v>19.309999999999999</c:v>
                </c:pt>
                <c:pt idx="449" formatCode="#,##0.00">
                  <c:v>18.850000000000001</c:v>
                </c:pt>
                <c:pt idx="450" formatCode="#,##0.00">
                  <c:v>18.809999999999999</c:v>
                </c:pt>
                <c:pt idx="451" formatCode="#,##0.00">
                  <c:v>19.07</c:v>
                </c:pt>
                <c:pt idx="452" formatCode="#,##0.00">
                  <c:v>19.46</c:v>
                </c:pt>
                <c:pt idx="453" formatCode="#,##0.00">
                  <c:v>19.23</c:v>
                </c:pt>
                <c:pt idx="454" formatCode="#,##0.00">
                  <c:v>18.93</c:v>
                </c:pt>
                <c:pt idx="455" formatCode="#,##0.00">
                  <c:v>18.79</c:v>
                </c:pt>
                <c:pt idx="456" formatCode="#,##0.00">
                  <c:v>19.170000000000002</c:v>
                </c:pt>
                <c:pt idx="457" formatCode="#,##0.00">
                  <c:v>18.579999999999998</c:v>
                </c:pt>
                <c:pt idx="458" formatCode="#,##0.00">
                  <c:v>18.95</c:v>
                </c:pt>
                <c:pt idx="459" formatCode="#,##0.00">
                  <c:v>19.89</c:v>
                </c:pt>
                <c:pt idx="460" formatCode="#,##0.00">
                  <c:v>18.22</c:v>
                </c:pt>
                <c:pt idx="461" formatCode="#,##0.00">
                  <c:v>18.66</c:v>
                </c:pt>
                <c:pt idx="462" formatCode="#,##0.00">
                  <c:v>18.55</c:v>
                </c:pt>
                <c:pt idx="463" formatCode="#,##0.00">
                  <c:v>18.649999999999999</c:v>
                </c:pt>
                <c:pt idx="464" formatCode="#,##0.00">
                  <c:v>18.579999999999998</c:v>
                </c:pt>
                <c:pt idx="465" formatCode="#,##0.00">
                  <c:v>19.93</c:v>
                </c:pt>
                <c:pt idx="466" formatCode="#,##0.00">
                  <c:v>19.34</c:v>
                </c:pt>
                <c:pt idx="467" formatCode="#,##0.00">
                  <c:v>19.510000000000002</c:v>
                </c:pt>
                <c:pt idx="468" formatCode="General">
                  <c:v>19.32</c:v>
                </c:pt>
                <c:pt idx="469" formatCode="General">
                  <c:v>20.16</c:v>
                </c:pt>
                <c:pt idx="470" formatCode="General">
                  <c:v>19.47</c:v>
                </c:pt>
                <c:pt idx="471" formatCode="General">
                  <c:v>19.23</c:v>
                </c:pt>
                <c:pt idx="472" formatCode="General">
                  <c:v>19.82</c:v>
                </c:pt>
                <c:pt idx="473" formatCode="General">
                  <c:v>20.02</c:v>
                </c:pt>
                <c:pt idx="474" formatCode="General">
                  <c:v>19.91</c:v>
                </c:pt>
                <c:pt idx="475" formatCode="General">
                  <c:v>19.89</c:v>
                </c:pt>
                <c:pt idx="476" formatCode="General">
                  <c:v>20.11</c:v>
                </c:pt>
                <c:pt idx="477" formatCode="General">
                  <c:v>19.25</c:v>
                </c:pt>
                <c:pt idx="478" formatCode="General">
                  <c:v>20.25</c:v>
                </c:pt>
                <c:pt idx="479" formatCode="General">
                  <c:v>20.170000000000002</c:v>
                </c:pt>
                <c:pt idx="480" formatCode="General">
                  <c:v>19.760000000000002</c:v>
                </c:pt>
                <c:pt idx="481" formatCode="General">
                  <c:v>19.579999999999998</c:v>
                </c:pt>
                <c:pt idx="482" formatCode="General">
                  <c:v>20.83</c:v>
                </c:pt>
                <c:pt idx="483" formatCode="General">
                  <c:v>19.899999999999999</c:v>
                </c:pt>
                <c:pt idx="495" formatCode="General">
                  <c:v>20.25</c:v>
                </c:pt>
                <c:pt idx="496" formatCode="General">
                  <c:v>20.13</c:v>
                </c:pt>
                <c:pt idx="497" formatCode="General">
                  <c:v>19.75</c:v>
                </c:pt>
                <c:pt idx="498" formatCode="General">
                  <c:v>19.02</c:v>
                </c:pt>
                <c:pt idx="499" formatCode="General">
                  <c:v>19.510000000000002</c:v>
                </c:pt>
                <c:pt idx="500" formatCode="General">
                  <c:v>18.59</c:v>
                </c:pt>
                <c:pt idx="501" formatCode="General">
                  <c:v>17.829999999999998</c:v>
                </c:pt>
                <c:pt idx="502" formatCode="General">
                  <c:v>18.88</c:v>
                </c:pt>
                <c:pt idx="503" formatCode="General">
                  <c:v>17.809999999999999</c:v>
                </c:pt>
                <c:pt idx="504" formatCode="General">
                  <c:v>18.52</c:v>
                </c:pt>
                <c:pt idx="505" formatCode="General">
                  <c:v>18.88</c:v>
                </c:pt>
                <c:pt idx="506" formatCode="General">
                  <c:v>19.079999999999998</c:v>
                </c:pt>
                <c:pt idx="507" formatCode="General">
                  <c:v>19.03</c:v>
                </c:pt>
                <c:pt idx="508" formatCode="General">
                  <c:v>19.579999999999998</c:v>
                </c:pt>
                <c:pt idx="509" formatCode="General">
                  <c:v>20</c:v>
                </c:pt>
                <c:pt idx="510" formatCode="General">
                  <c:v>20.72</c:v>
                </c:pt>
                <c:pt idx="511" formatCode="General">
                  <c:v>19.23</c:v>
                </c:pt>
                <c:pt idx="512" formatCode="General">
                  <c:v>19.5</c:v>
                </c:pt>
                <c:pt idx="513" formatCode="General">
                  <c:v>20</c:v>
                </c:pt>
                <c:pt idx="514" formatCode="General">
                  <c:v>20.12</c:v>
                </c:pt>
                <c:pt idx="515" formatCode="General">
                  <c:v>20.2</c:v>
                </c:pt>
                <c:pt idx="516" formatCode="General">
                  <c:v>19.61</c:v>
                </c:pt>
                <c:pt idx="517" formatCode="General">
                  <c:v>20</c:v>
                </c:pt>
                <c:pt idx="518" formatCode="General">
                  <c:v>20.54</c:v>
                </c:pt>
                <c:pt idx="519" formatCode="General">
                  <c:v>19.73</c:v>
                </c:pt>
                <c:pt idx="520" formatCode="General">
                  <c:v>20.190000000000001</c:v>
                </c:pt>
                <c:pt idx="521" formatCode="General">
                  <c:v>20.53</c:v>
                </c:pt>
                <c:pt idx="522" formatCode="General">
                  <c:v>20.88</c:v>
                </c:pt>
                <c:pt idx="523" formatCode="General">
                  <c:v>21.38</c:v>
                </c:pt>
                <c:pt idx="524" formatCode="General">
                  <c:v>21.16</c:v>
                </c:pt>
                <c:pt idx="525" formatCode="General">
                  <c:v>20.32</c:v>
                </c:pt>
                <c:pt idx="526" formatCode="General">
                  <c:v>24.02</c:v>
                </c:pt>
                <c:pt idx="527" formatCode="General">
                  <c:v>21.95</c:v>
                </c:pt>
                <c:pt idx="528" formatCode="General">
                  <c:v>21.6</c:v>
                </c:pt>
                <c:pt idx="529" formatCode="General">
                  <c:v>22.74</c:v>
                </c:pt>
                <c:pt idx="530" formatCode="General">
                  <c:v>22.91</c:v>
                </c:pt>
                <c:pt idx="531" formatCode="General">
                  <c:v>21.82</c:v>
                </c:pt>
                <c:pt idx="532" formatCode="General">
                  <c:v>22.67</c:v>
                </c:pt>
                <c:pt idx="533" formatCode="General">
                  <c:v>22.13</c:v>
                </c:pt>
                <c:pt idx="534" formatCode="General">
                  <c:v>22.98</c:v>
                </c:pt>
                <c:pt idx="535" formatCode="General">
                  <c:v>23.38</c:v>
                </c:pt>
                <c:pt idx="536" formatCode="General">
                  <c:v>22.21</c:v>
                </c:pt>
                <c:pt idx="537" formatCode="General">
                  <c:v>22.11</c:v>
                </c:pt>
                <c:pt idx="538" formatCode="General">
                  <c:v>22.6</c:v>
                </c:pt>
                <c:pt idx="539" formatCode="General">
                  <c:v>22.95</c:v>
                </c:pt>
                <c:pt idx="540" formatCode="General">
                  <c:v>23</c:v>
                </c:pt>
                <c:pt idx="541" formatCode="General">
                  <c:v>23.57</c:v>
                </c:pt>
                <c:pt idx="542" formatCode="General">
                  <c:v>23.45</c:v>
                </c:pt>
                <c:pt idx="543" formatCode="General">
                  <c:v>22.96</c:v>
                </c:pt>
                <c:pt idx="544" formatCode="General">
                  <c:v>22.3</c:v>
                </c:pt>
                <c:pt idx="545" formatCode="General">
                  <c:v>24.42</c:v>
                </c:pt>
                <c:pt idx="546" formatCode="General">
                  <c:v>22.47</c:v>
                </c:pt>
                <c:pt idx="547" formatCode="General">
                  <c:v>26.53</c:v>
                </c:pt>
                <c:pt idx="548" formatCode="General">
                  <c:v>23.86</c:v>
                </c:pt>
                <c:pt idx="549" formatCode="General">
                  <c:v>22.17</c:v>
                </c:pt>
                <c:pt idx="550" formatCode="General">
                  <c:v>21.87</c:v>
                </c:pt>
                <c:pt idx="551" formatCode="General">
                  <c:v>22.14</c:v>
                </c:pt>
                <c:pt idx="552" formatCode="General">
                  <c:v>22.32</c:v>
                </c:pt>
                <c:pt idx="553" formatCode="General">
                  <c:v>22.04</c:v>
                </c:pt>
                <c:pt idx="554" formatCode="#,##0.00">
                  <c:v>22.81</c:v>
                </c:pt>
                <c:pt idx="555" formatCode="#,##0.00">
                  <c:v>22.52</c:v>
                </c:pt>
                <c:pt idx="556" formatCode="#,##0.00">
                  <c:v>24.32</c:v>
                </c:pt>
                <c:pt idx="557" formatCode="#,##0.00">
                  <c:v>22.99</c:v>
                </c:pt>
                <c:pt idx="558" formatCode="#,##0.00">
                  <c:v>21.85</c:v>
                </c:pt>
                <c:pt idx="559" formatCode="#,##0.00">
                  <c:v>23.18</c:v>
                </c:pt>
                <c:pt idx="560" formatCode="#,##0.00">
                  <c:v>23.11</c:v>
                </c:pt>
                <c:pt idx="563" formatCode="#,##0.00">
                  <c:v>23.48</c:v>
                </c:pt>
                <c:pt idx="564" formatCode="#,##0.00">
                  <c:v>23.13</c:v>
                </c:pt>
                <c:pt idx="565" formatCode="#,##0.00">
                  <c:v>23.98</c:v>
                </c:pt>
                <c:pt idx="566" formatCode="#,##0.00">
                  <c:v>23.3</c:v>
                </c:pt>
                <c:pt idx="567" formatCode="#,##0.00">
                  <c:v>24.11</c:v>
                </c:pt>
                <c:pt idx="568" formatCode="#,##0.00">
                  <c:v>23.37</c:v>
                </c:pt>
                <c:pt idx="569" formatCode="#,##0.00">
                  <c:v>23.88</c:v>
                </c:pt>
                <c:pt idx="570" formatCode="#,##0.00">
                  <c:v>24.45</c:v>
                </c:pt>
                <c:pt idx="571" formatCode="#,##0.00">
                  <c:v>24.51</c:v>
                </c:pt>
                <c:pt idx="572" formatCode="#,##0.00">
                  <c:v>24.44</c:v>
                </c:pt>
                <c:pt idx="573" formatCode="#,##0.00">
                  <c:v>25.26</c:v>
                </c:pt>
                <c:pt idx="574" formatCode="#,##0.00">
                  <c:v>24</c:v>
                </c:pt>
                <c:pt idx="575" formatCode="#,##0.00">
                  <c:v>24.04</c:v>
                </c:pt>
                <c:pt idx="576" formatCode="#,##0.00">
                  <c:v>26.55</c:v>
                </c:pt>
                <c:pt idx="577" formatCode="#,##0.00">
                  <c:v>24.83</c:v>
                </c:pt>
                <c:pt idx="578" formatCode="#,##0.00">
                  <c:v>25.94</c:v>
                </c:pt>
                <c:pt idx="579" formatCode="#,##0.00">
                  <c:v>26.26</c:v>
                </c:pt>
                <c:pt idx="580" formatCode="#,##0.00">
                  <c:v>26.01</c:v>
                </c:pt>
                <c:pt idx="581" formatCode="#,##0.00">
                  <c:v>25.05</c:v>
                </c:pt>
                <c:pt idx="582" formatCode="#,##0.00">
                  <c:v>27.07</c:v>
                </c:pt>
                <c:pt idx="583" formatCode="General">
                  <c:v>26.57</c:v>
                </c:pt>
                <c:pt idx="584" formatCode="General">
                  <c:v>25.21</c:v>
                </c:pt>
                <c:pt idx="585" formatCode="General">
                  <c:v>25.25</c:v>
                </c:pt>
                <c:pt idx="586" formatCode="General">
                  <c:v>25.07</c:v>
                </c:pt>
                <c:pt idx="587" formatCode="General">
                  <c:v>25.46</c:v>
                </c:pt>
                <c:pt idx="588" formatCode="General">
                  <c:v>25.42</c:v>
                </c:pt>
                <c:pt idx="589" formatCode="General">
                  <c:v>25.76</c:v>
                </c:pt>
                <c:pt idx="590" formatCode="General">
                  <c:v>25.62</c:v>
                </c:pt>
                <c:pt idx="591" formatCode="General">
                  <c:v>26.32</c:v>
                </c:pt>
                <c:pt idx="592" formatCode="General">
                  <c:v>25.21</c:v>
                </c:pt>
                <c:pt idx="593" formatCode="General">
                  <c:v>25.06</c:v>
                </c:pt>
                <c:pt idx="594" formatCode="General">
                  <c:v>24.64</c:v>
                </c:pt>
                <c:pt idx="595" formatCode="General">
                  <c:v>24.86</c:v>
                </c:pt>
                <c:pt idx="596" formatCode="General">
                  <c:v>25.3</c:v>
                </c:pt>
                <c:pt idx="597" formatCode="General">
                  <c:v>24.73</c:v>
                </c:pt>
                <c:pt idx="598" formatCode="General">
                  <c:v>25.02</c:v>
                </c:pt>
                <c:pt idx="599" formatCode="General">
                  <c:v>24.69</c:v>
                </c:pt>
                <c:pt idx="600" formatCode="General">
                  <c:v>27.01</c:v>
                </c:pt>
                <c:pt idx="601" formatCode="General">
                  <c:v>25.34</c:v>
                </c:pt>
                <c:pt idx="602" formatCode="General">
                  <c:v>25.87</c:v>
                </c:pt>
                <c:pt idx="603" formatCode="General">
                  <c:v>24.83</c:v>
                </c:pt>
                <c:pt idx="604" formatCode="General">
                  <c:v>26.12</c:v>
                </c:pt>
                <c:pt idx="605" formatCode="General">
                  <c:v>24.88</c:v>
                </c:pt>
                <c:pt idx="606" formatCode="General">
                  <c:v>25.18</c:v>
                </c:pt>
                <c:pt idx="607" formatCode="General">
                  <c:v>24.22</c:v>
                </c:pt>
                <c:pt idx="608" formatCode="General">
                  <c:v>25.11</c:v>
                </c:pt>
                <c:pt idx="609" formatCode="General">
                  <c:v>25.31</c:v>
                </c:pt>
                <c:pt idx="610" formatCode="General">
                  <c:v>26.98</c:v>
                </c:pt>
                <c:pt idx="611" formatCode="General">
                  <c:v>24.99</c:v>
                </c:pt>
                <c:pt idx="612" formatCode="General">
                  <c:v>26.16</c:v>
                </c:pt>
                <c:pt idx="613" formatCode="General">
                  <c:v>25.98</c:v>
                </c:pt>
                <c:pt idx="614" formatCode="General">
                  <c:v>25.13</c:v>
                </c:pt>
                <c:pt idx="615" formatCode="General">
                  <c:v>26.51</c:v>
                </c:pt>
                <c:pt idx="620" formatCode="General">
                  <c:v>26.6</c:v>
                </c:pt>
                <c:pt idx="621" formatCode="General">
                  <c:v>27.26</c:v>
                </c:pt>
                <c:pt idx="622" formatCode="General">
                  <c:v>27.26</c:v>
                </c:pt>
                <c:pt idx="623" formatCode="General">
                  <c:v>27.02</c:v>
                </c:pt>
                <c:pt idx="624" formatCode="General">
                  <c:v>26.74</c:v>
                </c:pt>
                <c:pt idx="625" formatCode="General">
                  <c:v>27.83</c:v>
                </c:pt>
                <c:pt idx="626" formatCode="General">
                  <c:v>27.4</c:v>
                </c:pt>
                <c:pt idx="627" formatCode="General">
                  <c:v>27.09</c:v>
                </c:pt>
                <c:pt idx="628" formatCode="General">
                  <c:v>25.62</c:v>
                </c:pt>
                <c:pt idx="629" formatCode="General">
                  <c:v>27.68</c:v>
                </c:pt>
                <c:pt idx="630" formatCode="General">
                  <c:v>27.32</c:v>
                </c:pt>
                <c:pt idx="631" formatCode="General">
                  <c:v>27.65</c:v>
                </c:pt>
                <c:pt idx="632" formatCode="General">
                  <c:v>28.46</c:v>
                </c:pt>
                <c:pt idx="633" formatCode="General">
                  <c:v>28.3</c:v>
                </c:pt>
                <c:pt idx="634" formatCode="General">
                  <c:v>26.37</c:v>
                </c:pt>
                <c:pt idx="635" formatCode="General">
                  <c:v>26.36</c:v>
                </c:pt>
                <c:pt idx="636" formatCode="General">
                  <c:v>26.1</c:v>
                </c:pt>
                <c:pt idx="637" formatCode="General">
                  <c:v>25.75</c:v>
                </c:pt>
                <c:pt idx="638" formatCode="General">
                  <c:v>25.28</c:v>
                </c:pt>
                <c:pt idx="639" formatCode="General">
                  <c:v>23.85</c:v>
                </c:pt>
                <c:pt idx="640" formatCode="General">
                  <c:v>24.04</c:v>
                </c:pt>
                <c:pt idx="641" formatCode="General">
                  <c:v>23.36</c:v>
                </c:pt>
                <c:pt idx="642" formatCode="General">
                  <c:v>23.36</c:v>
                </c:pt>
                <c:pt idx="643" formatCode="General">
                  <c:v>24.21</c:v>
                </c:pt>
                <c:pt idx="644" formatCode="General">
                  <c:v>22.51</c:v>
                </c:pt>
                <c:pt idx="645" formatCode="General">
                  <c:v>23.37</c:v>
                </c:pt>
                <c:pt idx="646" formatCode="General">
                  <c:v>23.88</c:v>
                </c:pt>
                <c:pt idx="647" formatCode="General">
                  <c:v>24.29</c:v>
                </c:pt>
                <c:pt idx="648" formatCode="General">
                  <c:v>23.96</c:v>
                </c:pt>
                <c:pt idx="649" formatCode="General">
                  <c:v>23.51</c:v>
                </c:pt>
                <c:pt idx="650" formatCode="General">
                  <c:v>24.02</c:v>
                </c:pt>
                <c:pt idx="651" formatCode="General">
                  <c:v>23.14</c:v>
                </c:pt>
                <c:pt idx="652" formatCode="General">
                  <c:v>23.17</c:v>
                </c:pt>
                <c:pt idx="653" formatCode="General">
                  <c:v>21.94</c:v>
                </c:pt>
                <c:pt idx="654" formatCode="General">
                  <c:v>22.17</c:v>
                </c:pt>
                <c:pt idx="655" formatCode="General">
                  <c:v>24.05</c:v>
                </c:pt>
                <c:pt idx="656" formatCode="General">
                  <c:v>23.19</c:v>
                </c:pt>
                <c:pt idx="657" formatCode="General">
                  <c:v>23.01</c:v>
                </c:pt>
                <c:pt idx="658" formatCode="General">
                  <c:v>22.9</c:v>
                </c:pt>
                <c:pt idx="659" formatCode="General">
                  <c:v>23.99</c:v>
                </c:pt>
                <c:pt idx="660" formatCode="General">
                  <c:v>24.22</c:v>
                </c:pt>
                <c:pt idx="661" formatCode="General">
                  <c:v>23.8</c:v>
                </c:pt>
                <c:pt idx="662" formatCode="General">
                  <c:v>24.57</c:v>
                </c:pt>
                <c:pt idx="663" formatCode="General">
                  <c:v>25.31</c:v>
                </c:pt>
                <c:pt idx="664" formatCode="General">
                  <c:v>26.88</c:v>
                </c:pt>
                <c:pt idx="665" formatCode="General">
                  <c:v>24.91</c:v>
                </c:pt>
                <c:pt idx="666" formatCode="General">
                  <c:v>24.61</c:v>
                </c:pt>
                <c:pt idx="667" formatCode="General">
                  <c:v>24.25</c:v>
                </c:pt>
                <c:pt idx="668" formatCode="General">
                  <c:v>24.54</c:v>
                </c:pt>
                <c:pt idx="669" formatCode="General">
                  <c:v>25.17</c:v>
                </c:pt>
                <c:pt idx="670" formatCode="General">
                  <c:v>23.92</c:v>
                </c:pt>
                <c:pt idx="671" formatCode="General">
                  <c:v>26.25</c:v>
                </c:pt>
                <c:pt idx="672" formatCode="General">
                  <c:v>25.25</c:v>
                </c:pt>
                <c:pt idx="673" formatCode="General">
                  <c:v>23.6</c:v>
                </c:pt>
                <c:pt idx="674" formatCode="General">
                  <c:v>25.76</c:v>
                </c:pt>
                <c:pt idx="675" formatCode="General">
                  <c:v>23.98</c:v>
                </c:pt>
                <c:pt idx="676" formatCode="General">
                  <c:v>24.18</c:v>
                </c:pt>
                <c:pt idx="677" formatCode="General">
                  <c:v>25.39</c:v>
                </c:pt>
                <c:pt idx="678" formatCode="General">
                  <c:v>25.11</c:v>
                </c:pt>
                <c:pt idx="679" formatCode="General">
                  <c:v>25.12</c:v>
                </c:pt>
                <c:pt idx="680" formatCode="General">
                  <c:v>26.32</c:v>
                </c:pt>
                <c:pt idx="681" formatCode="General">
                  <c:v>25.64</c:v>
                </c:pt>
                <c:pt idx="682" formatCode="General">
                  <c:v>24.78</c:v>
                </c:pt>
                <c:pt idx="683" formatCode="General">
                  <c:v>25.52</c:v>
                </c:pt>
                <c:pt idx="684" formatCode="General">
                  <c:v>28.01</c:v>
                </c:pt>
                <c:pt idx="685" formatCode="General">
                  <c:v>25.13</c:v>
                </c:pt>
                <c:pt idx="686" formatCode="General">
                  <c:v>23.74</c:v>
                </c:pt>
                <c:pt idx="687" formatCode="General">
                  <c:v>25.02</c:v>
                </c:pt>
                <c:pt idx="688" formatCode="General">
                  <c:v>24.29</c:v>
                </c:pt>
                <c:pt idx="689" formatCode="General">
                  <c:v>34.36</c:v>
                </c:pt>
                <c:pt idx="690" formatCode="General">
                  <c:v>24.05</c:v>
                </c:pt>
                <c:pt idx="691" formatCode="General">
                  <c:v>26.36</c:v>
                </c:pt>
                <c:pt idx="692" formatCode="General">
                  <c:v>22.57</c:v>
                </c:pt>
                <c:pt idx="693" formatCode="General">
                  <c:v>21.41</c:v>
                </c:pt>
                <c:pt idx="694" formatCode="General">
                  <c:v>21.59</c:v>
                </c:pt>
                <c:pt idx="695" formatCode="General">
                  <c:v>20.28</c:v>
                </c:pt>
                <c:pt idx="696" formatCode="General">
                  <c:v>19.97</c:v>
                </c:pt>
                <c:pt idx="697" formatCode="General">
                  <c:v>20.100000000000001</c:v>
                </c:pt>
                <c:pt idx="698" formatCode="General">
                  <c:v>20.23</c:v>
                </c:pt>
                <c:pt idx="699" formatCode="General">
                  <c:v>21.31</c:v>
                </c:pt>
                <c:pt idx="700" formatCode="General">
                  <c:v>22.25</c:v>
                </c:pt>
                <c:pt idx="701" formatCode="General">
                  <c:v>22.16</c:v>
                </c:pt>
                <c:pt idx="702" formatCode="General">
                  <c:v>22.82</c:v>
                </c:pt>
                <c:pt idx="703" formatCode="General">
                  <c:v>22.54</c:v>
                </c:pt>
                <c:pt idx="704" formatCode="General">
                  <c:v>21.49</c:v>
                </c:pt>
                <c:pt idx="705" formatCode="General">
                  <c:v>22.35</c:v>
                </c:pt>
                <c:pt idx="706" formatCode="General">
                  <c:v>22.34</c:v>
                </c:pt>
                <c:pt idx="707" formatCode="General">
                  <c:v>21.92</c:v>
                </c:pt>
                <c:pt idx="708" formatCode="General">
                  <c:v>22.21</c:v>
                </c:pt>
                <c:pt idx="709" formatCode="General">
                  <c:v>22.13</c:v>
                </c:pt>
                <c:pt idx="710" formatCode="General">
                  <c:v>23.03</c:v>
                </c:pt>
                <c:pt idx="711" formatCode="General">
                  <c:v>23.81</c:v>
                </c:pt>
                <c:pt idx="712" formatCode="General">
                  <c:v>22.87</c:v>
                </c:pt>
                <c:pt idx="713" formatCode="General">
                  <c:v>23.5</c:v>
                </c:pt>
                <c:pt idx="714" formatCode="General">
                  <c:v>22.7</c:v>
                </c:pt>
                <c:pt idx="715" formatCode="General">
                  <c:v>23.78</c:v>
                </c:pt>
                <c:pt idx="716" formatCode="General">
                  <c:v>23.67</c:v>
                </c:pt>
                <c:pt idx="717" formatCode="General">
                  <c:v>25.03</c:v>
                </c:pt>
                <c:pt idx="718" formatCode="General">
                  <c:v>24.06</c:v>
                </c:pt>
                <c:pt idx="719" formatCode="General">
                  <c:v>22.96</c:v>
                </c:pt>
                <c:pt idx="720" formatCode="General">
                  <c:v>23.62</c:v>
                </c:pt>
                <c:pt idx="721" formatCode="General">
                  <c:v>23.63</c:v>
                </c:pt>
                <c:pt idx="722" formatCode="General">
                  <c:v>23.97</c:v>
                </c:pt>
                <c:pt idx="723" formatCode="General">
                  <c:v>23.19</c:v>
                </c:pt>
                <c:pt idx="724" formatCode="General">
                  <c:v>24.11</c:v>
                </c:pt>
                <c:pt idx="725" formatCode="General">
                  <c:v>21.69</c:v>
                </c:pt>
                <c:pt idx="726" formatCode="General">
                  <c:v>26.85</c:v>
                </c:pt>
                <c:pt idx="727" formatCode="General">
                  <c:v>25.31</c:v>
                </c:pt>
                <c:pt idx="728" formatCode="General">
                  <c:v>25.17</c:v>
                </c:pt>
                <c:pt idx="729" formatCode="General">
                  <c:v>27.36</c:v>
                </c:pt>
                <c:pt idx="730" formatCode="General">
                  <c:v>24.31</c:v>
                </c:pt>
                <c:pt idx="731" formatCode="General">
                  <c:v>23.35</c:v>
                </c:pt>
                <c:pt idx="732" formatCode="General">
                  <c:v>26.97</c:v>
                </c:pt>
                <c:pt idx="733" formatCode="General">
                  <c:v>26.95</c:v>
                </c:pt>
                <c:pt idx="734" formatCode="General">
                  <c:v>25.4</c:v>
                </c:pt>
                <c:pt idx="735" formatCode="General">
                  <c:v>24.61</c:v>
                </c:pt>
                <c:pt idx="736" formatCode="General">
                  <c:v>24.03</c:v>
                </c:pt>
                <c:pt idx="737" formatCode="General">
                  <c:v>24.31</c:v>
                </c:pt>
                <c:pt idx="738" formatCode="General">
                  <c:v>23.25</c:v>
                </c:pt>
                <c:pt idx="739" formatCode="General">
                  <c:v>23.21</c:v>
                </c:pt>
                <c:pt idx="740" formatCode="General">
                  <c:v>23.47</c:v>
                </c:pt>
                <c:pt idx="741" formatCode="General">
                  <c:v>23.38</c:v>
                </c:pt>
                <c:pt idx="742" formatCode="General">
                  <c:v>22.63</c:v>
                </c:pt>
                <c:pt idx="743" formatCode="General">
                  <c:v>22.54</c:v>
                </c:pt>
                <c:pt idx="744" formatCode="General">
                  <c:v>22.52</c:v>
                </c:pt>
                <c:pt idx="745" formatCode="General">
                  <c:v>23.74</c:v>
                </c:pt>
                <c:pt idx="746" formatCode="General">
                  <c:v>23.25</c:v>
                </c:pt>
                <c:pt idx="747" formatCode="General">
                  <c:v>23.94</c:v>
                </c:pt>
                <c:pt idx="748" formatCode="General">
                  <c:v>23.35</c:v>
                </c:pt>
                <c:pt idx="749" formatCode="General">
                  <c:v>24.55</c:v>
                </c:pt>
                <c:pt idx="750" formatCode="General">
                  <c:v>24.42</c:v>
                </c:pt>
                <c:pt idx="751" formatCode="General">
                  <c:v>23.77</c:v>
                </c:pt>
                <c:pt idx="752" formatCode="General">
                  <c:v>26.13</c:v>
                </c:pt>
                <c:pt idx="753" formatCode="General">
                  <c:v>25.02</c:v>
                </c:pt>
                <c:pt idx="754" formatCode="General">
                  <c:v>26.44</c:v>
                </c:pt>
                <c:pt idx="755" formatCode="General">
                  <c:v>26.07</c:v>
                </c:pt>
                <c:pt idx="756" formatCode="General">
                  <c:v>29.48</c:v>
                </c:pt>
                <c:pt idx="757" formatCode="General">
                  <c:v>30.14</c:v>
                </c:pt>
                <c:pt idx="758" formatCode="General">
                  <c:v>28.48</c:v>
                </c:pt>
                <c:pt idx="759" formatCode="General">
                  <c:v>26.84</c:v>
                </c:pt>
                <c:pt idx="760" formatCode="General">
                  <c:v>27.92</c:v>
                </c:pt>
                <c:pt idx="761" formatCode="General">
                  <c:v>27.96</c:v>
                </c:pt>
                <c:pt idx="762" formatCode="General">
                  <c:v>29.59</c:v>
                </c:pt>
                <c:pt idx="763" formatCode="General">
                  <c:v>30.05</c:v>
                </c:pt>
                <c:pt idx="764" formatCode="General">
                  <c:v>27.82</c:v>
                </c:pt>
                <c:pt idx="765" formatCode="General">
                  <c:v>30.98</c:v>
                </c:pt>
                <c:pt idx="766" formatCode="General">
                  <c:v>30.06</c:v>
                </c:pt>
                <c:pt idx="767" formatCode="General">
                  <c:v>29.86</c:v>
                </c:pt>
                <c:pt idx="768" formatCode="General">
                  <c:v>30.19</c:v>
                </c:pt>
                <c:pt idx="769" formatCode="General">
                  <c:v>30.94</c:v>
                </c:pt>
                <c:pt idx="770" formatCode="General">
                  <c:v>29.62</c:v>
                </c:pt>
                <c:pt idx="771" formatCode="General">
                  <c:v>30.23</c:v>
                </c:pt>
                <c:pt idx="773" formatCode="General">
                  <c:v>30.62</c:v>
                </c:pt>
                <c:pt idx="774" formatCode="General">
                  <c:v>32.97</c:v>
                </c:pt>
                <c:pt idx="775" formatCode="General">
                  <c:v>32.15</c:v>
                </c:pt>
                <c:pt idx="776" formatCode="General">
                  <c:v>32.64</c:v>
                </c:pt>
                <c:pt idx="777" formatCode="General">
                  <c:v>32.61</c:v>
                </c:pt>
                <c:pt idx="778" formatCode="General">
                  <c:v>34.61</c:v>
                </c:pt>
                <c:pt idx="779" formatCode="General">
                  <c:v>34.39</c:v>
                </c:pt>
                <c:pt idx="780" formatCode="General">
                  <c:v>33.39</c:v>
                </c:pt>
                <c:pt idx="781" formatCode="General">
                  <c:v>30.85</c:v>
                </c:pt>
                <c:pt idx="782" formatCode="General">
                  <c:v>30.02</c:v>
                </c:pt>
                <c:pt idx="783" formatCode="General">
                  <c:v>29.72</c:v>
                </c:pt>
                <c:pt idx="784" formatCode="General">
                  <c:v>29.79</c:v>
                </c:pt>
                <c:pt idx="785" formatCode="General">
                  <c:v>30.8</c:v>
                </c:pt>
                <c:pt idx="786" formatCode="General">
                  <c:v>28.98</c:v>
                </c:pt>
                <c:pt idx="787" formatCode="General">
                  <c:v>28.29</c:v>
                </c:pt>
                <c:pt idx="788" formatCode="General">
                  <c:v>25.66</c:v>
                </c:pt>
                <c:pt idx="789" formatCode="General">
                  <c:v>27.29</c:v>
                </c:pt>
                <c:pt idx="790" formatCode="General">
                  <c:v>27.96</c:v>
                </c:pt>
                <c:pt idx="791" formatCode="General">
                  <c:v>27.96</c:v>
                </c:pt>
                <c:pt idx="792" formatCode="General">
                  <c:v>29.52</c:v>
                </c:pt>
                <c:pt idx="793" formatCode="General">
                  <c:v>28.17</c:v>
                </c:pt>
                <c:pt idx="794" formatCode="General">
                  <c:v>28.27</c:v>
                </c:pt>
                <c:pt idx="795" formatCode="General">
                  <c:v>28.81</c:v>
                </c:pt>
                <c:pt idx="796" formatCode="General">
                  <c:v>28.81</c:v>
                </c:pt>
                <c:pt idx="797" formatCode="General">
                  <c:v>29.54</c:v>
                </c:pt>
                <c:pt idx="798" formatCode="General">
                  <c:v>31.06</c:v>
                </c:pt>
                <c:pt idx="799" formatCode="General">
                  <c:v>28.91</c:v>
                </c:pt>
                <c:pt idx="800" formatCode="General">
                  <c:v>30.27</c:v>
                </c:pt>
                <c:pt idx="801" formatCode="General">
                  <c:v>29.54</c:v>
                </c:pt>
              </c:numCache>
            </c:numRef>
          </c:val>
          <c:smooth val="0"/>
          <c:extLst>
            <c:ext xmlns:c16="http://schemas.microsoft.com/office/drawing/2014/chart" uri="{C3380CC4-5D6E-409C-BE32-E72D297353CC}">
              <c16:uniqueId val="{00000000-5AEC-4677-9A35-257E3E1F8E57}"/>
            </c:ext>
          </c:extLst>
        </c:ser>
        <c:dLbls>
          <c:showLegendKey val="0"/>
          <c:showVal val="0"/>
          <c:showCatName val="0"/>
          <c:showSerName val="0"/>
          <c:showPercent val="0"/>
          <c:showBubbleSize val="0"/>
        </c:dLbls>
        <c:smooth val="0"/>
        <c:axId val="1222325119"/>
        <c:axId val="1"/>
      </c:lineChart>
      <c:catAx>
        <c:axId val="1222325119"/>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2325119"/>
        <c:crosses val="autoZero"/>
        <c:crossBetween val="between"/>
      </c:valAx>
      <c:spPr>
        <a:noFill/>
        <a:ln w="25400">
          <a:noFill/>
        </a:ln>
      </c:spPr>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Cows in calf</a:t>
            </a:r>
          </a:p>
        </c:rich>
      </c:tx>
      <c:overlay val="0"/>
    </c:title>
    <c:autoTitleDeleted val="0"/>
    <c:plotArea>
      <c:layout/>
      <c:lineChart>
        <c:grouping val="standard"/>
        <c:varyColors val="0"/>
        <c:ser>
          <c:idx val="6"/>
          <c:order val="0"/>
          <c:tx>
            <c:strRef>
              <c:f>Summary!$N$3</c:f>
              <c:strCache>
                <c:ptCount val="1"/>
                <c:pt idx="0">
                  <c:v>Cows in calf</c:v>
                </c:pt>
              </c:strCache>
            </c:strRef>
          </c:tx>
          <c:spPr>
            <a:ln w="12700">
              <a:solidFill>
                <a:schemeClr val="tx1"/>
              </a:solidFill>
            </a:ln>
          </c:spPr>
          <c:marker>
            <c:symbol val="none"/>
          </c:marker>
          <c:cat>
            <c:numRef>
              <c:f>Summary!$B$4:$B$805</c:f>
              <c:numCache>
                <c:formatCode>General</c:formatCode>
                <c:ptCount val="802"/>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N$4:$N$810</c:f>
              <c:numCache>
                <c:formatCode>0.00</c:formatCode>
                <c:ptCount val="807"/>
                <c:pt idx="0">
                  <c:v>12.61</c:v>
                </c:pt>
                <c:pt idx="1">
                  <c:v>10.31</c:v>
                </c:pt>
                <c:pt idx="3">
                  <c:v>10.38</c:v>
                </c:pt>
                <c:pt idx="4">
                  <c:v>10.52</c:v>
                </c:pt>
                <c:pt idx="6">
                  <c:v>9.1999999999999993</c:v>
                </c:pt>
                <c:pt idx="7">
                  <c:v>9.68</c:v>
                </c:pt>
                <c:pt idx="13">
                  <c:v>10.52</c:v>
                </c:pt>
                <c:pt idx="15">
                  <c:v>12.05</c:v>
                </c:pt>
                <c:pt idx="19">
                  <c:v>9.76</c:v>
                </c:pt>
                <c:pt idx="20">
                  <c:v>9.6300000000000008</c:v>
                </c:pt>
                <c:pt idx="25">
                  <c:v>10</c:v>
                </c:pt>
                <c:pt idx="27">
                  <c:v>13.49</c:v>
                </c:pt>
                <c:pt idx="28">
                  <c:v>12</c:v>
                </c:pt>
                <c:pt idx="31">
                  <c:v>11.59</c:v>
                </c:pt>
                <c:pt idx="34">
                  <c:v>11.92</c:v>
                </c:pt>
                <c:pt idx="36">
                  <c:v>11.48</c:v>
                </c:pt>
                <c:pt idx="37">
                  <c:v>10.28</c:v>
                </c:pt>
                <c:pt idx="38">
                  <c:v>12</c:v>
                </c:pt>
                <c:pt idx="40">
                  <c:v>11.08</c:v>
                </c:pt>
                <c:pt idx="42">
                  <c:v>12</c:v>
                </c:pt>
                <c:pt idx="43">
                  <c:v>11.08</c:v>
                </c:pt>
                <c:pt idx="45">
                  <c:v>12.37</c:v>
                </c:pt>
                <c:pt idx="47">
                  <c:v>13.02</c:v>
                </c:pt>
                <c:pt idx="48">
                  <c:v>13.7</c:v>
                </c:pt>
                <c:pt idx="49">
                  <c:v>12.1</c:v>
                </c:pt>
                <c:pt idx="50">
                  <c:v>11.3</c:v>
                </c:pt>
                <c:pt idx="51">
                  <c:v>11.8</c:v>
                </c:pt>
                <c:pt idx="52">
                  <c:v>10.85</c:v>
                </c:pt>
                <c:pt idx="53">
                  <c:v>10.97</c:v>
                </c:pt>
                <c:pt idx="57">
                  <c:v>10.220000000000001</c:v>
                </c:pt>
                <c:pt idx="61">
                  <c:v>15</c:v>
                </c:pt>
                <c:pt idx="62">
                  <c:v>11.22</c:v>
                </c:pt>
                <c:pt idx="63">
                  <c:v>11.34</c:v>
                </c:pt>
                <c:pt idx="64">
                  <c:v>12.38</c:v>
                </c:pt>
                <c:pt idx="65">
                  <c:v>10</c:v>
                </c:pt>
                <c:pt idx="67">
                  <c:v>19.48</c:v>
                </c:pt>
                <c:pt idx="69">
                  <c:v>10.96</c:v>
                </c:pt>
                <c:pt idx="70">
                  <c:v>12.64</c:v>
                </c:pt>
                <c:pt idx="71">
                  <c:v>13.13</c:v>
                </c:pt>
                <c:pt idx="73">
                  <c:v>15</c:v>
                </c:pt>
                <c:pt idx="74">
                  <c:v>17.079999999999998</c:v>
                </c:pt>
                <c:pt idx="75">
                  <c:v>18.37</c:v>
                </c:pt>
                <c:pt idx="76">
                  <c:v>18.37</c:v>
                </c:pt>
                <c:pt idx="79">
                  <c:v>16.73</c:v>
                </c:pt>
                <c:pt idx="80">
                  <c:v>16.850000000000001</c:v>
                </c:pt>
                <c:pt idx="81">
                  <c:v>14.67</c:v>
                </c:pt>
                <c:pt idx="83">
                  <c:v>18.809999999999999</c:v>
                </c:pt>
                <c:pt idx="84">
                  <c:v>14.6</c:v>
                </c:pt>
                <c:pt idx="88">
                  <c:v>15.8</c:v>
                </c:pt>
                <c:pt idx="90">
                  <c:v>15.97</c:v>
                </c:pt>
                <c:pt idx="92">
                  <c:v>15.69</c:v>
                </c:pt>
                <c:pt idx="93">
                  <c:v>13.06</c:v>
                </c:pt>
                <c:pt idx="96">
                  <c:v>12.48</c:v>
                </c:pt>
                <c:pt idx="97">
                  <c:v>12.54</c:v>
                </c:pt>
                <c:pt idx="98">
                  <c:v>10.92</c:v>
                </c:pt>
                <c:pt idx="100">
                  <c:v>12.42</c:v>
                </c:pt>
                <c:pt idx="101">
                  <c:v>13.27</c:v>
                </c:pt>
                <c:pt idx="102">
                  <c:v>11.31</c:v>
                </c:pt>
                <c:pt idx="109" formatCode="General">
                  <c:v>14.24</c:v>
                </c:pt>
                <c:pt idx="110" formatCode="General">
                  <c:v>12.27</c:v>
                </c:pt>
                <c:pt idx="113" formatCode="General">
                  <c:v>15.79</c:v>
                </c:pt>
                <c:pt idx="116" formatCode="General">
                  <c:v>19.41</c:v>
                </c:pt>
                <c:pt idx="129" formatCode="General">
                  <c:v>16.7</c:v>
                </c:pt>
                <c:pt idx="134">
                  <c:v>14.47</c:v>
                </c:pt>
                <c:pt idx="141">
                  <c:v>14.49</c:v>
                </c:pt>
                <c:pt idx="144">
                  <c:v>13.29</c:v>
                </c:pt>
                <c:pt idx="146">
                  <c:v>12.67</c:v>
                </c:pt>
                <c:pt idx="149">
                  <c:v>10.36</c:v>
                </c:pt>
                <c:pt idx="150">
                  <c:v>13.88</c:v>
                </c:pt>
                <c:pt idx="151">
                  <c:v>11.06</c:v>
                </c:pt>
                <c:pt idx="153">
                  <c:v>12.43</c:v>
                </c:pt>
                <c:pt idx="158">
                  <c:v>17.100000000000001</c:v>
                </c:pt>
                <c:pt idx="163" formatCode="General">
                  <c:v>11.14</c:v>
                </c:pt>
                <c:pt idx="170">
                  <c:v>15.88</c:v>
                </c:pt>
                <c:pt idx="174">
                  <c:v>10.11</c:v>
                </c:pt>
                <c:pt idx="175">
                  <c:v>12.37</c:v>
                </c:pt>
                <c:pt idx="177">
                  <c:v>11.5</c:v>
                </c:pt>
                <c:pt idx="179">
                  <c:v>10.14</c:v>
                </c:pt>
                <c:pt idx="184">
                  <c:v>12.1</c:v>
                </c:pt>
                <c:pt idx="185">
                  <c:v>12.48</c:v>
                </c:pt>
                <c:pt idx="191">
                  <c:v>13.28</c:v>
                </c:pt>
                <c:pt idx="194" formatCode="#,##0.00">
                  <c:v>10.52</c:v>
                </c:pt>
                <c:pt idx="195" formatCode="#,##0.00">
                  <c:v>13.1</c:v>
                </c:pt>
                <c:pt idx="200" formatCode="#,##0.00">
                  <c:v>12.95</c:v>
                </c:pt>
                <c:pt idx="201" formatCode="#,##0.00">
                  <c:v>11.67</c:v>
                </c:pt>
                <c:pt idx="202" formatCode="#,##0.00">
                  <c:v>12.48</c:v>
                </c:pt>
                <c:pt idx="204" formatCode="#,##0.00">
                  <c:v>13.16</c:v>
                </c:pt>
                <c:pt idx="213" formatCode="#,##0.00">
                  <c:v>16.14</c:v>
                </c:pt>
                <c:pt idx="215" formatCode="#,##0.00">
                  <c:v>12.95</c:v>
                </c:pt>
                <c:pt idx="216" formatCode="#,##0.00">
                  <c:v>14.38</c:v>
                </c:pt>
                <c:pt idx="218" formatCode="#,##0.00">
                  <c:v>13.01</c:v>
                </c:pt>
                <c:pt idx="220" formatCode="#,##0.00">
                  <c:v>15.13</c:v>
                </c:pt>
                <c:pt idx="222" formatCode="#,##0.00">
                  <c:v>16.87</c:v>
                </c:pt>
                <c:pt idx="224" formatCode="#,##0.00">
                  <c:v>13.59</c:v>
                </c:pt>
                <c:pt idx="226" formatCode="#,##0.00">
                  <c:v>13.51</c:v>
                </c:pt>
                <c:pt idx="229" formatCode="#,##0.00">
                  <c:v>11.78</c:v>
                </c:pt>
                <c:pt idx="231" formatCode="#,##0.00">
                  <c:v>15.18</c:v>
                </c:pt>
                <c:pt idx="235" formatCode="#,##0.00">
                  <c:v>12.21</c:v>
                </c:pt>
                <c:pt idx="236" formatCode="#,##0.00">
                  <c:v>19.45</c:v>
                </c:pt>
                <c:pt idx="237" formatCode="#,##0.00">
                  <c:v>14.68</c:v>
                </c:pt>
                <c:pt idx="246" formatCode="#,##0.00">
                  <c:v>10.4</c:v>
                </c:pt>
                <c:pt idx="247" formatCode="#,##0.00">
                  <c:v>11.31</c:v>
                </c:pt>
                <c:pt idx="248" formatCode="#,##0.00">
                  <c:v>14.58</c:v>
                </c:pt>
                <c:pt idx="250" formatCode="#,##0.00">
                  <c:v>10.44</c:v>
                </c:pt>
                <c:pt idx="253" formatCode="#,##0.00">
                  <c:v>12.24</c:v>
                </c:pt>
                <c:pt idx="257" formatCode="#,##0.00">
                  <c:v>12.39</c:v>
                </c:pt>
                <c:pt idx="258" formatCode="#,##0.00">
                  <c:v>13.49</c:v>
                </c:pt>
                <c:pt idx="259" formatCode="#,##0.00">
                  <c:v>13.85</c:v>
                </c:pt>
                <c:pt idx="261" formatCode="#,##0.00">
                  <c:v>10.51</c:v>
                </c:pt>
                <c:pt idx="265" formatCode="#,##0.00">
                  <c:v>12.37</c:v>
                </c:pt>
                <c:pt idx="266" formatCode="#,##0.00">
                  <c:v>11.08</c:v>
                </c:pt>
                <c:pt idx="269" formatCode="#,##0.00">
                  <c:v>10.45</c:v>
                </c:pt>
                <c:pt idx="271" formatCode="#,##0.00">
                  <c:v>13.91</c:v>
                </c:pt>
                <c:pt idx="282" formatCode="#,##0.00">
                  <c:v>13.81</c:v>
                </c:pt>
                <c:pt idx="285" formatCode="#,##0.00">
                  <c:v>12.92</c:v>
                </c:pt>
                <c:pt idx="286" formatCode="#,##0.00">
                  <c:v>11.24</c:v>
                </c:pt>
                <c:pt idx="287" formatCode="#,##0.00">
                  <c:v>15.41</c:v>
                </c:pt>
                <c:pt idx="289" formatCode="#,##0.00">
                  <c:v>15.1</c:v>
                </c:pt>
                <c:pt idx="290" formatCode="#,##0.00">
                  <c:v>13.4</c:v>
                </c:pt>
                <c:pt idx="291" formatCode="#,##0.00">
                  <c:v>12.73</c:v>
                </c:pt>
                <c:pt idx="292" formatCode="#,##0.00">
                  <c:v>14.15</c:v>
                </c:pt>
                <c:pt idx="293" formatCode="#,##0.00">
                  <c:v>15.32</c:v>
                </c:pt>
                <c:pt idx="303" formatCode="#,##0.00">
                  <c:v>13.36</c:v>
                </c:pt>
                <c:pt idx="304" formatCode="#,##0.00">
                  <c:v>12.31</c:v>
                </c:pt>
                <c:pt idx="309" formatCode="#,##0.00">
                  <c:v>13.58</c:v>
                </c:pt>
                <c:pt idx="310" formatCode="#,##0.00">
                  <c:v>10.71</c:v>
                </c:pt>
                <c:pt idx="315" formatCode="#,##0.00">
                  <c:v>16.100000000000001</c:v>
                </c:pt>
                <c:pt idx="316" formatCode="#,##0.00">
                  <c:v>11.33</c:v>
                </c:pt>
                <c:pt idx="318" formatCode="#,##0.00">
                  <c:v>16.329999999999998</c:v>
                </c:pt>
                <c:pt idx="322" formatCode="#,##0.00">
                  <c:v>17.03</c:v>
                </c:pt>
                <c:pt idx="326" formatCode="#,##0.00">
                  <c:v>12.77</c:v>
                </c:pt>
                <c:pt idx="334" formatCode="#,##0.00">
                  <c:v>16.04</c:v>
                </c:pt>
                <c:pt idx="335" formatCode="#,##0.00">
                  <c:v>19.93</c:v>
                </c:pt>
                <c:pt idx="338" formatCode="#,##0.00">
                  <c:v>16.670000000000002</c:v>
                </c:pt>
                <c:pt idx="341" formatCode="#,##0.00">
                  <c:v>16.809999999999999</c:v>
                </c:pt>
                <c:pt idx="343" formatCode="#,##0.00">
                  <c:v>17.66</c:v>
                </c:pt>
                <c:pt idx="344" formatCode="#,##0.00">
                  <c:v>16.89</c:v>
                </c:pt>
                <c:pt idx="347" formatCode="#,##0.00">
                  <c:v>16.95</c:v>
                </c:pt>
                <c:pt idx="350" formatCode="#,##0.00">
                  <c:v>19</c:v>
                </c:pt>
                <c:pt idx="357" formatCode="#,##0.00">
                  <c:v>18.78</c:v>
                </c:pt>
                <c:pt idx="361" formatCode="#,##0.00">
                  <c:v>20.7</c:v>
                </c:pt>
                <c:pt idx="364" formatCode="#,##0.00">
                  <c:v>22.47</c:v>
                </c:pt>
                <c:pt idx="368" formatCode="#,##0.00">
                  <c:v>23.89</c:v>
                </c:pt>
                <c:pt idx="369" formatCode="#,##0.00">
                  <c:v>22.5</c:v>
                </c:pt>
                <c:pt idx="376" formatCode="#,##0.00">
                  <c:v>22.42</c:v>
                </c:pt>
                <c:pt idx="378" formatCode="#,##0.00">
                  <c:v>27.74</c:v>
                </c:pt>
                <c:pt idx="381" formatCode="#,##0.00">
                  <c:v>22.58</c:v>
                </c:pt>
                <c:pt idx="382" formatCode="#,##0.00">
                  <c:v>21.34</c:v>
                </c:pt>
                <c:pt idx="395" formatCode="#,##0.00">
                  <c:v>24.29</c:v>
                </c:pt>
                <c:pt idx="398" formatCode="#,##0.00">
                  <c:v>23.24</c:v>
                </c:pt>
                <c:pt idx="399" formatCode="#,##0.00">
                  <c:v>20.149999999999999</c:v>
                </c:pt>
                <c:pt idx="400" formatCode="#,##0.00">
                  <c:v>18.37</c:v>
                </c:pt>
                <c:pt idx="402" formatCode="#,##0.00">
                  <c:v>18.7</c:v>
                </c:pt>
                <c:pt idx="412" formatCode="#,##0.00">
                  <c:v>26.61</c:v>
                </c:pt>
                <c:pt idx="414" formatCode="#,##0.00">
                  <c:v>20.66</c:v>
                </c:pt>
                <c:pt idx="416" formatCode="#,##0.00">
                  <c:v>20.190000000000001</c:v>
                </c:pt>
                <c:pt idx="417" formatCode="#,##0.00">
                  <c:v>20.9</c:v>
                </c:pt>
                <c:pt idx="418" formatCode="#,##0.00">
                  <c:v>20.239999999999998</c:v>
                </c:pt>
                <c:pt idx="420" formatCode="#,##0.00">
                  <c:v>19</c:v>
                </c:pt>
                <c:pt idx="421" formatCode="#,##0.00">
                  <c:v>21.87</c:v>
                </c:pt>
                <c:pt idx="422" formatCode="#,##0.00">
                  <c:v>20.81</c:v>
                </c:pt>
                <c:pt idx="423" formatCode="#,##0.00">
                  <c:v>22.11</c:v>
                </c:pt>
                <c:pt idx="425" formatCode="#,##0.00">
                  <c:v>23.32</c:v>
                </c:pt>
                <c:pt idx="426" formatCode="#,##0.00">
                  <c:v>20.89</c:v>
                </c:pt>
                <c:pt idx="429" formatCode="#,##0.00">
                  <c:v>28.69</c:v>
                </c:pt>
                <c:pt idx="430" formatCode="#,##0.00">
                  <c:v>21.5</c:v>
                </c:pt>
                <c:pt idx="431" formatCode="#,##0.00">
                  <c:v>23.34</c:v>
                </c:pt>
                <c:pt idx="434" formatCode="#,##0.00">
                  <c:v>24.14</c:v>
                </c:pt>
                <c:pt idx="437" formatCode="#,##0.00">
                  <c:v>24.56</c:v>
                </c:pt>
                <c:pt idx="441" formatCode="#,##0.00">
                  <c:v>19.489999999999998</c:v>
                </c:pt>
                <c:pt idx="442" formatCode="#,##0.00">
                  <c:v>22.52</c:v>
                </c:pt>
                <c:pt idx="443" formatCode="#,##0.00">
                  <c:v>20.399999999999999</c:v>
                </c:pt>
                <c:pt idx="446" formatCode="#,##0.00">
                  <c:v>19.920000000000002</c:v>
                </c:pt>
                <c:pt idx="447" formatCode="#,##0.00">
                  <c:v>25.99</c:v>
                </c:pt>
                <c:pt idx="448" formatCode="#,##0.00">
                  <c:v>26.15</c:v>
                </c:pt>
                <c:pt idx="449" formatCode="#,##0.00">
                  <c:v>19.91</c:v>
                </c:pt>
                <c:pt idx="450" formatCode="#,##0.00">
                  <c:v>20.58</c:v>
                </c:pt>
                <c:pt idx="451" formatCode="#,##0.00">
                  <c:v>22.64</c:v>
                </c:pt>
                <c:pt idx="453" formatCode="#,##0.00">
                  <c:v>18.8</c:v>
                </c:pt>
                <c:pt idx="455" formatCode="#,##0.00">
                  <c:v>20.52</c:v>
                </c:pt>
                <c:pt idx="456" formatCode="#,##0.00">
                  <c:v>24.25</c:v>
                </c:pt>
                <c:pt idx="458" formatCode="#,##0.00">
                  <c:v>19.190000000000001</c:v>
                </c:pt>
                <c:pt idx="460" formatCode="#,##0.00">
                  <c:v>31.5</c:v>
                </c:pt>
                <c:pt idx="461" formatCode="#,##0.00">
                  <c:v>17.309999999999999</c:v>
                </c:pt>
                <c:pt idx="463" formatCode="#,##0.00">
                  <c:v>19.63</c:v>
                </c:pt>
                <c:pt idx="464" formatCode="#,##0.00">
                  <c:v>20.12</c:v>
                </c:pt>
                <c:pt idx="468" formatCode="General">
                  <c:v>19.41</c:v>
                </c:pt>
                <c:pt idx="471" formatCode="General">
                  <c:v>21.72</c:v>
                </c:pt>
                <c:pt idx="473" formatCode="General">
                  <c:v>21.6</c:v>
                </c:pt>
                <c:pt idx="475" formatCode="General">
                  <c:v>19.350000000000001</c:v>
                </c:pt>
                <c:pt idx="478" formatCode="General">
                  <c:v>22.32</c:v>
                </c:pt>
                <c:pt idx="480" formatCode="General">
                  <c:v>28.08</c:v>
                </c:pt>
                <c:pt idx="482" formatCode="General">
                  <c:v>22.62</c:v>
                </c:pt>
                <c:pt idx="498" formatCode="General">
                  <c:v>21</c:v>
                </c:pt>
                <c:pt idx="499" formatCode="General">
                  <c:v>20.43</c:v>
                </c:pt>
                <c:pt idx="510" formatCode="General">
                  <c:v>25.1</c:v>
                </c:pt>
                <c:pt idx="513" formatCode="General">
                  <c:v>22.52</c:v>
                </c:pt>
                <c:pt idx="514" formatCode="General">
                  <c:v>19.489999999999998</c:v>
                </c:pt>
                <c:pt idx="519" formatCode="General">
                  <c:v>19.38</c:v>
                </c:pt>
                <c:pt idx="521" formatCode="General">
                  <c:v>30.09</c:v>
                </c:pt>
                <c:pt idx="523" formatCode="General">
                  <c:v>21.86</c:v>
                </c:pt>
                <c:pt idx="524" formatCode="General">
                  <c:v>19.440000000000001</c:v>
                </c:pt>
                <c:pt idx="525" formatCode="General">
                  <c:v>19.68</c:v>
                </c:pt>
                <c:pt idx="526" formatCode="General">
                  <c:v>27.42</c:v>
                </c:pt>
                <c:pt idx="532" formatCode="General">
                  <c:v>23.54</c:v>
                </c:pt>
                <c:pt idx="533" formatCode="General">
                  <c:v>18.559999999999999</c:v>
                </c:pt>
                <c:pt idx="534" formatCode="General">
                  <c:v>21.67</c:v>
                </c:pt>
                <c:pt idx="535" formatCode="General">
                  <c:v>24.67</c:v>
                </c:pt>
                <c:pt idx="539" formatCode="General">
                  <c:v>28.75</c:v>
                </c:pt>
                <c:pt idx="540" formatCode="General">
                  <c:v>21.67</c:v>
                </c:pt>
                <c:pt idx="543" formatCode="General">
                  <c:v>27.4</c:v>
                </c:pt>
                <c:pt idx="545" formatCode="General">
                  <c:v>27.46</c:v>
                </c:pt>
                <c:pt idx="546" formatCode="General">
                  <c:v>24.5</c:v>
                </c:pt>
                <c:pt idx="549" formatCode="General">
                  <c:v>25.11</c:v>
                </c:pt>
                <c:pt idx="551" formatCode="General">
                  <c:v>19.05</c:v>
                </c:pt>
                <c:pt idx="554" formatCode="#,##0.00">
                  <c:v>26.06</c:v>
                </c:pt>
                <c:pt idx="555" formatCode="#,##0.00">
                  <c:v>23.57</c:v>
                </c:pt>
                <c:pt idx="557" formatCode="#,##0.00">
                  <c:v>28.09</c:v>
                </c:pt>
                <c:pt idx="564" formatCode="#,##0.00">
                  <c:v>31.44</c:v>
                </c:pt>
                <c:pt idx="572" formatCode="#,##0.00">
                  <c:v>24.16</c:v>
                </c:pt>
                <c:pt idx="575" formatCode="#,##0.00">
                  <c:v>39.4</c:v>
                </c:pt>
                <c:pt idx="578" formatCode="#,##0.00">
                  <c:v>27.03</c:v>
                </c:pt>
                <c:pt idx="579" formatCode="#,##0.00">
                  <c:v>34.04</c:v>
                </c:pt>
                <c:pt idx="581" formatCode="#,##0.00">
                  <c:v>25.64</c:v>
                </c:pt>
                <c:pt idx="583" formatCode="General">
                  <c:v>23.42</c:v>
                </c:pt>
                <c:pt idx="585" formatCode="General">
                  <c:v>27.89</c:v>
                </c:pt>
                <c:pt idx="586" formatCode="General">
                  <c:v>25.27</c:v>
                </c:pt>
                <c:pt idx="588" formatCode="General">
                  <c:v>25.61</c:v>
                </c:pt>
                <c:pt idx="591" formatCode="General">
                  <c:v>24.18</c:v>
                </c:pt>
                <c:pt idx="592" formatCode="General">
                  <c:v>35.61</c:v>
                </c:pt>
                <c:pt idx="601" formatCode="General">
                  <c:v>29.47</c:v>
                </c:pt>
                <c:pt idx="603" formatCode="General">
                  <c:v>30.74</c:v>
                </c:pt>
                <c:pt idx="605" formatCode="General">
                  <c:v>26.38</c:v>
                </c:pt>
                <c:pt idx="610" formatCode="General">
                  <c:v>29.24</c:v>
                </c:pt>
                <c:pt idx="613" formatCode="General">
                  <c:v>21.28</c:v>
                </c:pt>
                <c:pt idx="614" formatCode="General">
                  <c:v>28.5</c:v>
                </c:pt>
                <c:pt idx="615" formatCode="General">
                  <c:v>44.97</c:v>
                </c:pt>
                <c:pt idx="623" formatCode="General">
                  <c:v>26.87</c:v>
                </c:pt>
                <c:pt idx="624" formatCode="General">
                  <c:v>24.07</c:v>
                </c:pt>
                <c:pt idx="625" formatCode="General">
                  <c:v>42.96</c:v>
                </c:pt>
                <c:pt idx="626" formatCode="General">
                  <c:v>28.5</c:v>
                </c:pt>
                <c:pt idx="627" formatCode="General">
                  <c:v>35.229999999999997</c:v>
                </c:pt>
                <c:pt idx="628" formatCode="General">
                  <c:v>26.32</c:v>
                </c:pt>
                <c:pt idx="630" formatCode="General">
                  <c:v>26.01</c:v>
                </c:pt>
                <c:pt idx="631" formatCode="General">
                  <c:v>29.26</c:v>
                </c:pt>
                <c:pt idx="633" formatCode="General">
                  <c:v>26.42</c:v>
                </c:pt>
                <c:pt idx="638" formatCode="General">
                  <c:v>31.56</c:v>
                </c:pt>
                <c:pt idx="639" formatCode="General">
                  <c:v>26.67</c:v>
                </c:pt>
                <c:pt idx="640" formatCode="General">
                  <c:v>23.48</c:v>
                </c:pt>
                <c:pt idx="641" formatCode="General">
                  <c:v>38.869999999999997</c:v>
                </c:pt>
                <c:pt idx="645" formatCode="General">
                  <c:v>29.17</c:v>
                </c:pt>
                <c:pt idx="646" formatCode="General">
                  <c:v>25.78</c:v>
                </c:pt>
                <c:pt idx="647" formatCode="General">
                  <c:v>25.14</c:v>
                </c:pt>
                <c:pt idx="649" formatCode="General">
                  <c:v>23.23</c:v>
                </c:pt>
                <c:pt idx="650" formatCode="General">
                  <c:v>20.85</c:v>
                </c:pt>
                <c:pt idx="651" formatCode="General">
                  <c:v>25.64</c:v>
                </c:pt>
                <c:pt idx="653" formatCode="General">
                  <c:v>24.59</c:v>
                </c:pt>
                <c:pt idx="654" formatCode="General">
                  <c:v>24.25</c:v>
                </c:pt>
                <c:pt idx="655" formatCode="General">
                  <c:v>20.65</c:v>
                </c:pt>
                <c:pt idx="656" formatCode="General">
                  <c:v>30.65</c:v>
                </c:pt>
                <c:pt idx="659" formatCode="General">
                  <c:v>30.18</c:v>
                </c:pt>
                <c:pt idx="660" formatCode="General">
                  <c:v>21.06</c:v>
                </c:pt>
                <c:pt idx="662" formatCode="General">
                  <c:v>36.18</c:v>
                </c:pt>
                <c:pt idx="664" formatCode="General">
                  <c:v>25.04</c:v>
                </c:pt>
                <c:pt idx="666" formatCode="General">
                  <c:v>21.66</c:v>
                </c:pt>
                <c:pt idx="667" formatCode="General">
                  <c:v>25.26</c:v>
                </c:pt>
                <c:pt idx="668" formatCode="General">
                  <c:v>25</c:v>
                </c:pt>
                <c:pt idx="669" formatCode="General">
                  <c:v>24.34</c:v>
                </c:pt>
                <c:pt idx="671" formatCode="General">
                  <c:v>26.38</c:v>
                </c:pt>
                <c:pt idx="673" formatCode="General">
                  <c:v>36.299999999999997</c:v>
                </c:pt>
                <c:pt idx="675" formatCode="General">
                  <c:v>23.48</c:v>
                </c:pt>
                <c:pt idx="676" formatCode="General">
                  <c:v>27.96</c:v>
                </c:pt>
                <c:pt idx="679" formatCode="General">
                  <c:v>25.07</c:v>
                </c:pt>
                <c:pt idx="681" formatCode="General">
                  <c:v>26.75</c:v>
                </c:pt>
                <c:pt idx="682" formatCode="General">
                  <c:v>21.24</c:v>
                </c:pt>
                <c:pt idx="683" formatCode="General">
                  <c:v>25.3</c:v>
                </c:pt>
                <c:pt idx="686" formatCode="General">
                  <c:v>23.6</c:v>
                </c:pt>
                <c:pt idx="687" formatCode="General">
                  <c:v>25.4</c:v>
                </c:pt>
                <c:pt idx="689" formatCode="General">
                  <c:v>23.61</c:v>
                </c:pt>
                <c:pt idx="691" formatCode="General">
                  <c:v>24.49</c:v>
                </c:pt>
                <c:pt idx="692" formatCode="General">
                  <c:v>27.59</c:v>
                </c:pt>
                <c:pt idx="693" formatCode="General">
                  <c:v>29.86</c:v>
                </c:pt>
                <c:pt idx="696" formatCode="General">
                  <c:v>20.27</c:v>
                </c:pt>
                <c:pt idx="697" formatCode="General">
                  <c:v>25.14</c:v>
                </c:pt>
                <c:pt idx="699" formatCode="General">
                  <c:v>20</c:v>
                </c:pt>
                <c:pt idx="701" formatCode="General">
                  <c:v>27.77</c:v>
                </c:pt>
                <c:pt idx="704" formatCode="General">
                  <c:v>22.97</c:v>
                </c:pt>
                <c:pt idx="705" formatCode="General">
                  <c:v>23.56</c:v>
                </c:pt>
                <c:pt idx="709" formatCode="General">
                  <c:v>28.91</c:v>
                </c:pt>
                <c:pt idx="711" formatCode="General">
                  <c:v>22.25</c:v>
                </c:pt>
                <c:pt idx="714" formatCode="General">
                  <c:v>23.88</c:v>
                </c:pt>
                <c:pt idx="715" formatCode="General">
                  <c:v>19.57</c:v>
                </c:pt>
                <c:pt idx="719" formatCode="General">
                  <c:v>22.31</c:v>
                </c:pt>
                <c:pt idx="722" formatCode="General">
                  <c:v>21.84</c:v>
                </c:pt>
                <c:pt idx="723" formatCode="General">
                  <c:v>28.36</c:v>
                </c:pt>
                <c:pt idx="725" formatCode="General">
                  <c:v>22.6</c:v>
                </c:pt>
                <c:pt idx="727" formatCode="General">
                  <c:v>24.47</c:v>
                </c:pt>
                <c:pt idx="729" formatCode="General">
                  <c:v>25.16</c:v>
                </c:pt>
                <c:pt idx="732" formatCode="General">
                  <c:v>22.63</c:v>
                </c:pt>
                <c:pt idx="734" formatCode="General">
                  <c:v>22.53</c:v>
                </c:pt>
                <c:pt idx="737" formatCode="General">
                  <c:v>25.19</c:v>
                </c:pt>
                <c:pt idx="738" formatCode="General">
                  <c:v>26.07</c:v>
                </c:pt>
                <c:pt idx="742" formatCode="General">
                  <c:v>20.170000000000002</c:v>
                </c:pt>
                <c:pt idx="748" formatCode="General">
                  <c:v>31.31</c:v>
                </c:pt>
                <c:pt idx="749" formatCode="General">
                  <c:v>35.51</c:v>
                </c:pt>
                <c:pt idx="751" formatCode="General">
                  <c:v>24.06</c:v>
                </c:pt>
                <c:pt idx="752" formatCode="General">
                  <c:v>21.13</c:v>
                </c:pt>
                <c:pt idx="753" formatCode="General">
                  <c:v>23.69</c:v>
                </c:pt>
                <c:pt idx="755" formatCode="General">
                  <c:v>25.74</c:v>
                </c:pt>
                <c:pt idx="758" formatCode="General">
                  <c:v>29.22</c:v>
                </c:pt>
                <c:pt idx="759" formatCode="General">
                  <c:v>22.68</c:v>
                </c:pt>
                <c:pt idx="760" formatCode="General">
                  <c:v>22.68</c:v>
                </c:pt>
                <c:pt idx="766" formatCode="General">
                  <c:v>28.94</c:v>
                </c:pt>
                <c:pt idx="771" formatCode="General">
                  <c:v>26.57</c:v>
                </c:pt>
                <c:pt idx="773" formatCode="General">
                  <c:v>26.8</c:v>
                </c:pt>
                <c:pt idx="776" formatCode="General">
                  <c:v>29.3</c:v>
                </c:pt>
                <c:pt idx="777" formatCode="General">
                  <c:v>42.67</c:v>
                </c:pt>
                <c:pt idx="778" formatCode="General">
                  <c:v>43.72</c:v>
                </c:pt>
                <c:pt idx="780" formatCode="General">
                  <c:v>35.51</c:v>
                </c:pt>
                <c:pt idx="781" formatCode="General">
                  <c:v>33.729999999999997</c:v>
                </c:pt>
                <c:pt idx="782" formatCode="General">
                  <c:v>35.67</c:v>
                </c:pt>
                <c:pt idx="784" formatCode="General">
                  <c:v>33.64</c:v>
                </c:pt>
                <c:pt idx="785" formatCode="General">
                  <c:v>31.77</c:v>
                </c:pt>
                <c:pt idx="787" formatCode="General">
                  <c:v>24.78</c:v>
                </c:pt>
                <c:pt idx="788" formatCode="General">
                  <c:v>41.95</c:v>
                </c:pt>
                <c:pt idx="789" formatCode="General">
                  <c:v>26.79</c:v>
                </c:pt>
                <c:pt idx="791" formatCode="General">
                  <c:v>25.24</c:v>
                </c:pt>
                <c:pt idx="795" formatCode="General">
                  <c:v>27.56</c:v>
                </c:pt>
                <c:pt idx="797" formatCode="General">
                  <c:v>32.99</c:v>
                </c:pt>
                <c:pt idx="800" formatCode="General">
                  <c:v>33.36</c:v>
                </c:pt>
                <c:pt idx="801" formatCode="General">
                  <c:v>28.42</c:v>
                </c:pt>
              </c:numCache>
            </c:numRef>
          </c:val>
          <c:smooth val="0"/>
          <c:extLst>
            <c:ext xmlns:c16="http://schemas.microsoft.com/office/drawing/2014/chart" uri="{C3380CC4-5D6E-409C-BE32-E72D297353CC}">
              <c16:uniqueId val="{00000000-42CD-4BB1-9922-A4C0A10F6D21}"/>
            </c:ext>
          </c:extLst>
        </c:ser>
        <c:dLbls>
          <c:showLegendKey val="0"/>
          <c:showVal val="0"/>
          <c:showCatName val="0"/>
          <c:showSerName val="0"/>
          <c:showPercent val="0"/>
          <c:showBubbleSize val="0"/>
        </c:dLbls>
        <c:smooth val="0"/>
        <c:axId val="1222330879"/>
        <c:axId val="1"/>
      </c:lineChart>
      <c:catAx>
        <c:axId val="1222330879"/>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2330879"/>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 Cows &amp; calves</a:t>
            </a:r>
          </a:p>
        </c:rich>
      </c:tx>
      <c:overlay val="0"/>
    </c:title>
    <c:autoTitleDeleted val="0"/>
    <c:plotArea>
      <c:layout/>
      <c:lineChart>
        <c:grouping val="standard"/>
        <c:varyColors val="0"/>
        <c:ser>
          <c:idx val="6"/>
          <c:order val="0"/>
          <c:tx>
            <c:strRef>
              <c:f>Summary!$O$3</c:f>
              <c:strCache>
                <c:ptCount val="1"/>
                <c:pt idx="0">
                  <c:v>Cows &amp; calves</c:v>
                </c:pt>
              </c:strCache>
            </c:strRef>
          </c:tx>
          <c:spPr>
            <a:ln w="12700">
              <a:solidFill>
                <a:schemeClr val="tx1"/>
              </a:solidFill>
            </a:ln>
          </c:spPr>
          <c:marker>
            <c:symbol val="none"/>
          </c:marker>
          <c:cat>
            <c:numRef>
              <c:f>Summary!$B$4:$B$805</c:f>
              <c:numCache>
                <c:formatCode>General</c:formatCode>
                <c:ptCount val="802"/>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O$4:$O$810</c:f>
              <c:numCache>
                <c:formatCode>#,##0.00</c:formatCode>
                <c:ptCount val="807"/>
                <c:pt idx="0">
                  <c:v>11.47</c:v>
                </c:pt>
                <c:pt idx="1">
                  <c:v>13.05</c:v>
                </c:pt>
                <c:pt idx="2">
                  <c:v>12.07</c:v>
                </c:pt>
                <c:pt idx="3">
                  <c:v>12.79</c:v>
                </c:pt>
                <c:pt idx="4">
                  <c:v>10.69</c:v>
                </c:pt>
                <c:pt idx="5">
                  <c:v>11.81</c:v>
                </c:pt>
                <c:pt idx="6">
                  <c:v>11.34</c:v>
                </c:pt>
                <c:pt idx="7">
                  <c:v>10.88</c:v>
                </c:pt>
                <c:pt idx="8">
                  <c:v>12.45</c:v>
                </c:pt>
                <c:pt idx="9">
                  <c:v>10.81</c:v>
                </c:pt>
                <c:pt idx="10">
                  <c:v>11.08</c:v>
                </c:pt>
                <c:pt idx="11">
                  <c:v>10.82</c:v>
                </c:pt>
                <c:pt idx="12">
                  <c:v>11.4</c:v>
                </c:pt>
                <c:pt idx="13">
                  <c:v>11.84</c:v>
                </c:pt>
                <c:pt idx="14">
                  <c:v>12.65</c:v>
                </c:pt>
                <c:pt idx="15">
                  <c:v>11.2</c:v>
                </c:pt>
                <c:pt idx="16">
                  <c:v>11.21</c:v>
                </c:pt>
                <c:pt idx="17">
                  <c:v>11.72</c:v>
                </c:pt>
                <c:pt idx="18">
                  <c:v>10.75</c:v>
                </c:pt>
                <c:pt idx="19">
                  <c:v>11.87</c:v>
                </c:pt>
                <c:pt idx="20">
                  <c:v>10.91</c:v>
                </c:pt>
                <c:pt idx="21">
                  <c:v>11.12</c:v>
                </c:pt>
                <c:pt idx="22">
                  <c:v>11.69</c:v>
                </c:pt>
                <c:pt idx="23">
                  <c:v>11.07</c:v>
                </c:pt>
                <c:pt idx="24">
                  <c:v>10.91</c:v>
                </c:pt>
                <c:pt idx="25">
                  <c:v>10.45</c:v>
                </c:pt>
                <c:pt idx="26">
                  <c:v>12.26</c:v>
                </c:pt>
                <c:pt idx="27">
                  <c:v>11.49</c:v>
                </c:pt>
                <c:pt idx="28">
                  <c:v>12.04</c:v>
                </c:pt>
                <c:pt idx="29">
                  <c:v>10.77</c:v>
                </c:pt>
                <c:pt idx="30">
                  <c:v>11.77</c:v>
                </c:pt>
                <c:pt idx="31">
                  <c:v>12.19</c:v>
                </c:pt>
                <c:pt idx="32">
                  <c:v>12.01</c:v>
                </c:pt>
                <c:pt idx="33">
                  <c:v>12.29</c:v>
                </c:pt>
                <c:pt idx="34">
                  <c:v>13.04</c:v>
                </c:pt>
                <c:pt idx="35">
                  <c:v>12.04</c:v>
                </c:pt>
                <c:pt idx="36">
                  <c:v>11.06</c:v>
                </c:pt>
                <c:pt idx="37">
                  <c:v>12.04</c:v>
                </c:pt>
                <c:pt idx="38">
                  <c:v>12.51</c:v>
                </c:pt>
                <c:pt idx="39">
                  <c:v>11.78</c:v>
                </c:pt>
                <c:pt idx="40">
                  <c:v>12.02</c:v>
                </c:pt>
                <c:pt idx="41">
                  <c:v>12.47</c:v>
                </c:pt>
                <c:pt idx="42">
                  <c:v>12.37</c:v>
                </c:pt>
                <c:pt idx="43">
                  <c:v>13.37</c:v>
                </c:pt>
                <c:pt idx="44">
                  <c:v>12.77</c:v>
                </c:pt>
                <c:pt idx="45">
                  <c:v>13.1</c:v>
                </c:pt>
                <c:pt idx="46">
                  <c:v>14.89</c:v>
                </c:pt>
                <c:pt idx="47">
                  <c:v>15.63</c:v>
                </c:pt>
                <c:pt idx="48">
                  <c:v>14.12</c:v>
                </c:pt>
                <c:pt idx="49">
                  <c:v>13.88</c:v>
                </c:pt>
                <c:pt idx="50">
                  <c:v>13.26</c:v>
                </c:pt>
                <c:pt idx="51">
                  <c:v>9.2899999999999991</c:v>
                </c:pt>
                <c:pt idx="52">
                  <c:v>12.89</c:v>
                </c:pt>
                <c:pt idx="53">
                  <c:v>12.83</c:v>
                </c:pt>
                <c:pt idx="54">
                  <c:v>12.56</c:v>
                </c:pt>
                <c:pt idx="55">
                  <c:v>11.59</c:v>
                </c:pt>
                <c:pt idx="56">
                  <c:v>13.26</c:v>
                </c:pt>
                <c:pt idx="57">
                  <c:v>12.3</c:v>
                </c:pt>
                <c:pt idx="58">
                  <c:v>12.09</c:v>
                </c:pt>
                <c:pt idx="59">
                  <c:v>11.72</c:v>
                </c:pt>
                <c:pt idx="60">
                  <c:v>12.2</c:v>
                </c:pt>
                <c:pt idx="61">
                  <c:v>11.96</c:v>
                </c:pt>
                <c:pt idx="62">
                  <c:v>12.88</c:v>
                </c:pt>
                <c:pt idx="63">
                  <c:v>12.88</c:v>
                </c:pt>
                <c:pt idx="64">
                  <c:v>12.79</c:v>
                </c:pt>
                <c:pt idx="65">
                  <c:v>13.4</c:v>
                </c:pt>
                <c:pt idx="66">
                  <c:v>13.28</c:v>
                </c:pt>
                <c:pt idx="67">
                  <c:v>12.97</c:v>
                </c:pt>
                <c:pt idx="68">
                  <c:v>12.58</c:v>
                </c:pt>
                <c:pt idx="69">
                  <c:v>11.98</c:v>
                </c:pt>
                <c:pt idx="70">
                  <c:v>8.01</c:v>
                </c:pt>
                <c:pt idx="71">
                  <c:v>13.18</c:v>
                </c:pt>
                <c:pt idx="72">
                  <c:v>13.25</c:v>
                </c:pt>
                <c:pt idx="73">
                  <c:v>13.98</c:v>
                </c:pt>
                <c:pt idx="74">
                  <c:v>14.65</c:v>
                </c:pt>
                <c:pt idx="75">
                  <c:v>15.12</c:v>
                </c:pt>
                <c:pt idx="76">
                  <c:v>15.12</c:v>
                </c:pt>
                <c:pt idx="77">
                  <c:v>13.64</c:v>
                </c:pt>
                <c:pt idx="78">
                  <c:v>11.35</c:v>
                </c:pt>
                <c:pt idx="79">
                  <c:v>16.309999999999999</c:v>
                </c:pt>
                <c:pt idx="80">
                  <c:v>16.64</c:v>
                </c:pt>
                <c:pt idx="81">
                  <c:v>13.58</c:v>
                </c:pt>
                <c:pt idx="82">
                  <c:v>13.82</c:v>
                </c:pt>
                <c:pt idx="83">
                  <c:v>15.36</c:v>
                </c:pt>
                <c:pt idx="84">
                  <c:v>14.11</c:v>
                </c:pt>
                <c:pt idx="85">
                  <c:v>15.24</c:v>
                </c:pt>
                <c:pt idx="86">
                  <c:v>15.35</c:v>
                </c:pt>
                <c:pt idx="87">
                  <c:v>9.31</c:v>
                </c:pt>
                <c:pt idx="88">
                  <c:v>16.71</c:v>
                </c:pt>
                <c:pt idx="89">
                  <c:v>16.38</c:v>
                </c:pt>
                <c:pt idx="90">
                  <c:v>16.510000000000002</c:v>
                </c:pt>
                <c:pt idx="91">
                  <c:v>15.25</c:v>
                </c:pt>
                <c:pt idx="92">
                  <c:v>15.34</c:v>
                </c:pt>
                <c:pt idx="93">
                  <c:v>14.84</c:v>
                </c:pt>
                <c:pt idx="94">
                  <c:v>15.26</c:v>
                </c:pt>
                <c:pt idx="95">
                  <c:v>15.68</c:v>
                </c:pt>
                <c:pt idx="96">
                  <c:v>16.899999999999999</c:v>
                </c:pt>
                <c:pt idx="97">
                  <c:v>15.21</c:v>
                </c:pt>
                <c:pt idx="98">
                  <c:v>13.47</c:v>
                </c:pt>
                <c:pt idx="99">
                  <c:v>16.38</c:v>
                </c:pt>
                <c:pt idx="100">
                  <c:v>15.19</c:v>
                </c:pt>
                <c:pt idx="101">
                  <c:v>14.02</c:v>
                </c:pt>
                <c:pt idx="102">
                  <c:v>12.29</c:v>
                </c:pt>
                <c:pt idx="103">
                  <c:v>12.33</c:v>
                </c:pt>
                <c:pt idx="104">
                  <c:v>12.7</c:v>
                </c:pt>
                <c:pt idx="105">
                  <c:v>12.54</c:v>
                </c:pt>
                <c:pt idx="106">
                  <c:v>13.16</c:v>
                </c:pt>
                <c:pt idx="107">
                  <c:v>11.77</c:v>
                </c:pt>
                <c:pt idx="108">
                  <c:v>12.01</c:v>
                </c:pt>
                <c:pt idx="109">
                  <c:v>13.34</c:v>
                </c:pt>
                <c:pt idx="110" formatCode="General">
                  <c:v>13.21</c:v>
                </c:pt>
                <c:pt idx="111">
                  <c:v>13.26</c:v>
                </c:pt>
                <c:pt idx="112">
                  <c:v>11.58</c:v>
                </c:pt>
                <c:pt idx="113">
                  <c:v>14.35</c:v>
                </c:pt>
                <c:pt idx="114" formatCode="General">
                  <c:v>12.54</c:v>
                </c:pt>
                <c:pt idx="115" formatCode="General">
                  <c:v>12.85</c:v>
                </c:pt>
                <c:pt idx="116" formatCode="General">
                  <c:v>13.05</c:v>
                </c:pt>
                <c:pt idx="117" formatCode="General">
                  <c:v>13.93</c:v>
                </c:pt>
                <c:pt idx="118" formatCode="General">
                  <c:v>12.59</c:v>
                </c:pt>
                <c:pt idx="119" formatCode="General">
                  <c:v>13.46</c:v>
                </c:pt>
                <c:pt idx="120" formatCode="General">
                  <c:v>12.76</c:v>
                </c:pt>
                <c:pt idx="121" formatCode="General">
                  <c:v>13.89</c:v>
                </c:pt>
                <c:pt idx="122" formatCode="General">
                  <c:v>11.86</c:v>
                </c:pt>
                <c:pt idx="123" formatCode="General">
                  <c:v>14.08</c:v>
                </c:pt>
                <c:pt idx="124" formatCode="General">
                  <c:v>12.77</c:v>
                </c:pt>
                <c:pt idx="125" formatCode="General">
                  <c:v>13.36</c:v>
                </c:pt>
                <c:pt idx="126" formatCode="General">
                  <c:v>12.74</c:v>
                </c:pt>
                <c:pt idx="127" formatCode="General">
                  <c:v>12.23</c:v>
                </c:pt>
                <c:pt idx="128" formatCode="General">
                  <c:v>13.28</c:v>
                </c:pt>
                <c:pt idx="129" formatCode="General">
                  <c:v>15.37</c:v>
                </c:pt>
                <c:pt idx="130" formatCode="General">
                  <c:v>13.7</c:v>
                </c:pt>
                <c:pt idx="131" formatCode="General">
                  <c:v>13.59</c:v>
                </c:pt>
                <c:pt idx="132" formatCode="General">
                  <c:v>13.7</c:v>
                </c:pt>
                <c:pt idx="133" formatCode="0.00">
                  <c:v>13</c:v>
                </c:pt>
                <c:pt idx="134" formatCode="0.00">
                  <c:v>15.14</c:v>
                </c:pt>
                <c:pt idx="135" formatCode="0.00">
                  <c:v>14.11</c:v>
                </c:pt>
                <c:pt idx="136" formatCode="0.00">
                  <c:v>14.25</c:v>
                </c:pt>
                <c:pt idx="137" formatCode="0.00">
                  <c:v>14.16</c:v>
                </c:pt>
                <c:pt idx="138" formatCode="0.00">
                  <c:v>14.22</c:v>
                </c:pt>
                <c:pt idx="139" formatCode="0.00">
                  <c:v>12.42</c:v>
                </c:pt>
                <c:pt idx="140" formatCode="0.00">
                  <c:v>12.98</c:v>
                </c:pt>
                <c:pt idx="141" formatCode="0.00">
                  <c:v>14.12</c:v>
                </c:pt>
                <c:pt idx="142" formatCode="0.00">
                  <c:v>12.73</c:v>
                </c:pt>
                <c:pt idx="143" formatCode="0.00">
                  <c:v>12.75</c:v>
                </c:pt>
                <c:pt idx="144" formatCode="0.00">
                  <c:v>12.18</c:v>
                </c:pt>
                <c:pt idx="145" formatCode="0.00">
                  <c:v>12.37</c:v>
                </c:pt>
                <c:pt idx="146" formatCode="0.00">
                  <c:v>13.25</c:v>
                </c:pt>
                <c:pt idx="147" formatCode="0.00">
                  <c:v>13.06</c:v>
                </c:pt>
                <c:pt idx="148" formatCode="0.00">
                  <c:v>12.64</c:v>
                </c:pt>
                <c:pt idx="149" formatCode="0.00">
                  <c:v>12.7</c:v>
                </c:pt>
                <c:pt idx="150" formatCode="0.00">
                  <c:v>13.02</c:v>
                </c:pt>
                <c:pt idx="151" formatCode="0.00">
                  <c:v>12.04</c:v>
                </c:pt>
                <c:pt idx="152" formatCode="0.00">
                  <c:v>11.67</c:v>
                </c:pt>
                <c:pt idx="153" formatCode="0.00">
                  <c:v>12.56</c:v>
                </c:pt>
                <c:pt idx="154" formatCode="0.00">
                  <c:v>11.02</c:v>
                </c:pt>
                <c:pt idx="155" formatCode="0.00">
                  <c:v>12.37</c:v>
                </c:pt>
                <c:pt idx="156" formatCode="0.00">
                  <c:v>12.56</c:v>
                </c:pt>
                <c:pt idx="157" formatCode="0.00">
                  <c:v>12.66</c:v>
                </c:pt>
                <c:pt idx="158" formatCode="0.00">
                  <c:v>11.78</c:v>
                </c:pt>
                <c:pt idx="159" formatCode="0.00">
                  <c:v>13.13</c:v>
                </c:pt>
                <c:pt idx="160" formatCode="0.00">
                  <c:v>11.79</c:v>
                </c:pt>
                <c:pt idx="161" formatCode="0.00">
                  <c:v>11.2</c:v>
                </c:pt>
                <c:pt idx="162" formatCode="0.00">
                  <c:v>11.29</c:v>
                </c:pt>
                <c:pt idx="163" formatCode="General">
                  <c:v>12.53</c:v>
                </c:pt>
                <c:pt idx="164" formatCode="General">
                  <c:v>11.12</c:v>
                </c:pt>
                <c:pt idx="165" formatCode="0.00">
                  <c:v>11.36</c:v>
                </c:pt>
                <c:pt idx="166" formatCode="0.00">
                  <c:v>12.07</c:v>
                </c:pt>
                <c:pt idx="167" formatCode="0.00">
                  <c:v>11.51</c:v>
                </c:pt>
                <c:pt idx="168" formatCode="0.00">
                  <c:v>12.21</c:v>
                </c:pt>
                <c:pt idx="169" formatCode="0.00">
                  <c:v>12.85</c:v>
                </c:pt>
                <c:pt idx="170" formatCode="0.00">
                  <c:v>12.56</c:v>
                </c:pt>
                <c:pt idx="171" formatCode="0.00">
                  <c:v>11.91</c:v>
                </c:pt>
                <c:pt idx="172" formatCode="0.00">
                  <c:v>12.25</c:v>
                </c:pt>
                <c:pt idx="173" formatCode="0.00">
                  <c:v>11.9</c:v>
                </c:pt>
                <c:pt idx="174" formatCode="0.00">
                  <c:v>11.72</c:v>
                </c:pt>
                <c:pt idx="175" formatCode="0.00">
                  <c:v>13.14</c:v>
                </c:pt>
                <c:pt idx="176" formatCode="0.00">
                  <c:v>13.43</c:v>
                </c:pt>
                <c:pt idx="177" formatCode="0.00">
                  <c:v>13.22</c:v>
                </c:pt>
                <c:pt idx="178" formatCode="0.00">
                  <c:v>12.77</c:v>
                </c:pt>
                <c:pt idx="179" formatCode="0.00">
                  <c:v>15.15</c:v>
                </c:pt>
                <c:pt idx="180" formatCode="0.00">
                  <c:v>13.69</c:v>
                </c:pt>
                <c:pt idx="181" formatCode="0.00">
                  <c:v>13.55</c:v>
                </c:pt>
                <c:pt idx="182" formatCode="0.00">
                  <c:v>12.64</c:v>
                </c:pt>
                <c:pt idx="183" formatCode="0.00">
                  <c:v>13.91</c:v>
                </c:pt>
                <c:pt idx="184" formatCode="0.00">
                  <c:v>12.71</c:v>
                </c:pt>
                <c:pt idx="185" formatCode="0.00">
                  <c:v>14.08</c:v>
                </c:pt>
                <c:pt idx="186" formatCode="0.00">
                  <c:v>13.72</c:v>
                </c:pt>
                <c:pt idx="187" formatCode="0.00">
                  <c:v>12.92</c:v>
                </c:pt>
                <c:pt idx="188" formatCode="0.00">
                  <c:v>12.23</c:v>
                </c:pt>
                <c:pt idx="189" formatCode="0.00">
                  <c:v>12.45</c:v>
                </c:pt>
                <c:pt idx="190" formatCode="0.00">
                  <c:v>12.66</c:v>
                </c:pt>
                <c:pt idx="191" formatCode="0.00">
                  <c:v>13.45</c:v>
                </c:pt>
                <c:pt idx="192">
                  <c:v>12.39</c:v>
                </c:pt>
                <c:pt idx="193">
                  <c:v>12.98</c:v>
                </c:pt>
                <c:pt idx="194">
                  <c:v>12.77</c:v>
                </c:pt>
                <c:pt idx="195">
                  <c:v>12.44</c:v>
                </c:pt>
                <c:pt idx="196">
                  <c:v>12.21</c:v>
                </c:pt>
                <c:pt idx="197">
                  <c:v>12.27</c:v>
                </c:pt>
                <c:pt idx="198">
                  <c:v>11.71</c:v>
                </c:pt>
                <c:pt idx="199">
                  <c:v>12.38</c:v>
                </c:pt>
                <c:pt idx="200">
                  <c:v>12.61</c:v>
                </c:pt>
                <c:pt idx="201">
                  <c:v>11.77</c:v>
                </c:pt>
                <c:pt idx="202">
                  <c:v>12.9</c:v>
                </c:pt>
                <c:pt idx="203">
                  <c:v>12.98</c:v>
                </c:pt>
                <c:pt idx="204">
                  <c:v>12.88</c:v>
                </c:pt>
                <c:pt idx="205">
                  <c:v>10.87</c:v>
                </c:pt>
                <c:pt idx="206">
                  <c:v>11.7</c:v>
                </c:pt>
                <c:pt idx="207">
                  <c:v>12.65</c:v>
                </c:pt>
                <c:pt idx="208">
                  <c:v>11.16</c:v>
                </c:pt>
                <c:pt idx="209">
                  <c:v>12.12</c:v>
                </c:pt>
                <c:pt idx="210">
                  <c:v>12.28</c:v>
                </c:pt>
                <c:pt idx="211">
                  <c:v>13.03</c:v>
                </c:pt>
                <c:pt idx="212">
                  <c:v>11.6</c:v>
                </c:pt>
                <c:pt idx="213">
                  <c:v>11.82</c:v>
                </c:pt>
                <c:pt idx="214">
                  <c:v>12.63</c:v>
                </c:pt>
                <c:pt idx="215">
                  <c:v>12.67</c:v>
                </c:pt>
                <c:pt idx="216">
                  <c:v>14.15</c:v>
                </c:pt>
                <c:pt idx="217">
                  <c:v>11.85</c:v>
                </c:pt>
                <c:pt idx="218">
                  <c:v>13.53</c:v>
                </c:pt>
                <c:pt idx="219">
                  <c:v>12.61</c:v>
                </c:pt>
                <c:pt idx="220">
                  <c:v>13.75</c:v>
                </c:pt>
                <c:pt idx="221">
                  <c:v>13.01</c:v>
                </c:pt>
                <c:pt idx="222">
                  <c:v>15.88</c:v>
                </c:pt>
                <c:pt idx="223">
                  <c:v>12.32</c:v>
                </c:pt>
                <c:pt idx="224">
                  <c:v>13.64</c:v>
                </c:pt>
                <c:pt idx="225">
                  <c:v>13.6</c:v>
                </c:pt>
                <c:pt idx="226">
                  <c:v>12.9</c:v>
                </c:pt>
                <c:pt idx="227">
                  <c:v>13.33</c:v>
                </c:pt>
                <c:pt idx="228">
                  <c:v>14.16</c:v>
                </c:pt>
                <c:pt idx="229">
                  <c:v>12.13</c:v>
                </c:pt>
                <c:pt idx="230">
                  <c:v>12.93</c:v>
                </c:pt>
                <c:pt idx="231">
                  <c:v>15.5</c:v>
                </c:pt>
                <c:pt idx="232">
                  <c:v>14.37</c:v>
                </c:pt>
                <c:pt idx="233">
                  <c:v>14.98</c:v>
                </c:pt>
                <c:pt idx="234">
                  <c:v>14.71</c:v>
                </c:pt>
                <c:pt idx="235">
                  <c:v>13.64</c:v>
                </c:pt>
                <c:pt idx="236">
                  <c:v>16.010000000000002</c:v>
                </c:pt>
                <c:pt idx="237">
                  <c:v>15.7</c:v>
                </c:pt>
                <c:pt idx="238">
                  <c:v>15.24</c:v>
                </c:pt>
                <c:pt idx="239">
                  <c:v>13.51</c:v>
                </c:pt>
                <c:pt idx="240">
                  <c:v>14.55</c:v>
                </c:pt>
                <c:pt idx="241">
                  <c:v>15.24</c:v>
                </c:pt>
                <c:pt idx="242">
                  <c:v>14.15</c:v>
                </c:pt>
                <c:pt idx="243">
                  <c:v>14.5</c:v>
                </c:pt>
                <c:pt idx="244">
                  <c:v>14.98</c:v>
                </c:pt>
                <c:pt idx="245">
                  <c:v>13.67</c:v>
                </c:pt>
                <c:pt idx="246">
                  <c:v>12.29</c:v>
                </c:pt>
                <c:pt idx="247">
                  <c:v>13.19</c:v>
                </c:pt>
                <c:pt idx="248">
                  <c:v>12.9</c:v>
                </c:pt>
                <c:pt idx="249">
                  <c:v>15.54</c:v>
                </c:pt>
                <c:pt idx="250">
                  <c:v>12.27</c:v>
                </c:pt>
                <c:pt idx="251">
                  <c:v>13.71</c:v>
                </c:pt>
                <c:pt idx="252">
                  <c:v>12.29</c:v>
                </c:pt>
                <c:pt idx="253">
                  <c:v>14.45</c:v>
                </c:pt>
                <c:pt idx="254">
                  <c:v>11.34</c:v>
                </c:pt>
                <c:pt idx="255">
                  <c:v>13.43</c:v>
                </c:pt>
                <c:pt idx="256">
                  <c:v>12.36</c:v>
                </c:pt>
                <c:pt idx="257">
                  <c:v>13.63</c:v>
                </c:pt>
                <c:pt idx="258">
                  <c:v>12.91</c:v>
                </c:pt>
                <c:pt idx="259">
                  <c:v>12.93</c:v>
                </c:pt>
                <c:pt idx="260">
                  <c:v>14.13</c:v>
                </c:pt>
                <c:pt idx="261">
                  <c:v>14.62</c:v>
                </c:pt>
                <c:pt idx="262">
                  <c:v>12.83</c:v>
                </c:pt>
                <c:pt idx="263">
                  <c:v>12.89</c:v>
                </c:pt>
                <c:pt idx="264">
                  <c:v>14.08</c:v>
                </c:pt>
                <c:pt idx="265">
                  <c:v>13.97</c:v>
                </c:pt>
                <c:pt idx="266">
                  <c:v>13.82</c:v>
                </c:pt>
                <c:pt idx="267">
                  <c:v>14.65</c:v>
                </c:pt>
                <c:pt idx="268">
                  <c:v>14.75</c:v>
                </c:pt>
                <c:pt idx="269">
                  <c:v>14.43</c:v>
                </c:pt>
                <c:pt idx="270">
                  <c:v>14.01</c:v>
                </c:pt>
                <c:pt idx="271">
                  <c:v>16.579999999999998</c:v>
                </c:pt>
                <c:pt idx="272">
                  <c:v>15.1</c:v>
                </c:pt>
                <c:pt idx="273">
                  <c:v>14.47</c:v>
                </c:pt>
                <c:pt idx="274">
                  <c:v>13.77</c:v>
                </c:pt>
                <c:pt idx="275">
                  <c:v>14.48</c:v>
                </c:pt>
                <c:pt idx="276">
                  <c:v>12.56</c:v>
                </c:pt>
                <c:pt idx="277">
                  <c:v>14.41</c:v>
                </c:pt>
                <c:pt idx="278">
                  <c:v>15.52</c:v>
                </c:pt>
                <c:pt idx="279">
                  <c:v>13.32</c:v>
                </c:pt>
                <c:pt idx="280">
                  <c:v>16.14</c:v>
                </c:pt>
                <c:pt idx="281">
                  <c:v>17.09</c:v>
                </c:pt>
                <c:pt idx="282">
                  <c:v>14.17</c:v>
                </c:pt>
                <c:pt idx="283">
                  <c:v>14.69</c:v>
                </c:pt>
                <c:pt idx="284">
                  <c:v>13.45</c:v>
                </c:pt>
                <c:pt idx="285">
                  <c:v>13.27</c:v>
                </c:pt>
                <c:pt idx="286">
                  <c:v>14.15</c:v>
                </c:pt>
                <c:pt idx="287">
                  <c:v>13.95</c:v>
                </c:pt>
                <c:pt idx="288">
                  <c:v>12.94</c:v>
                </c:pt>
                <c:pt idx="289">
                  <c:v>14.36</c:v>
                </c:pt>
                <c:pt idx="290">
                  <c:v>13.46</c:v>
                </c:pt>
                <c:pt idx="291">
                  <c:v>13.13</c:v>
                </c:pt>
                <c:pt idx="292">
                  <c:v>14.86</c:v>
                </c:pt>
                <c:pt idx="293">
                  <c:v>14.86</c:v>
                </c:pt>
                <c:pt idx="294">
                  <c:v>14.2</c:v>
                </c:pt>
                <c:pt idx="295">
                  <c:v>12.91</c:v>
                </c:pt>
                <c:pt idx="296">
                  <c:v>13.79</c:v>
                </c:pt>
                <c:pt idx="297">
                  <c:v>16.59</c:v>
                </c:pt>
                <c:pt idx="298">
                  <c:v>14.07</c:v>
                </c:pt>
                <c:pt idx="299">
                  <c:v>14.58</c:v>
                </c:pt>
                <c:pt idx="300">
                  <c:v>13.39</c:v>
                </c:pt>
                <c:pt idx="301">
                  <c:v>14.31</c:v>
                </c:pt>
                <c:pt idx="302">
                  <c:v>13.52</c:v>
                </c:pt>
                <c:pt idx="303">
                  <c:v>13.48</c:v>
                </c:pt>
                <c:pt idx="304">
                  <c:v>13.79</c:v>
                </c:pt>
                <c:pt idx="305">
                  <c:v>12.46</c:v>
                </c:pt>
                <c:pt idx="306">
                  <c:v>13.12</c:v>
                </c:pt>
                <c:pt idx="307">
                  <c:v>11.16</c:v>
                </c:pt>
                <c:pt idx="308">
                  <c:v>12.68</c:v>
                </c:pt>
                <c:pt idx="309">
                  <c:v>13.52</c:v>
                </c:pt>
                <c:pt idx="310">
                  <c:v>13.13</c:v>
                </c:pt>
                <c:pt idx="311">
                  <c:v>13.97</c:v>
                </c:pt>
                <c:pt idx="312">
                  <c:v>12.4</c:v>
                </c:pt>
                <c:pt idx="313">
                  <c:v>13.31</c:v>
                </c:pt>
                <c:pt idx="314">
                  <c:v>13.24</c:v>
                </c:pt>
                <c:pt idx="315">
                  <c:v>15.78</c:v>
                </c:pt>
                <c:pt idx="316">
                  <c:v>14.71</c:v>
                </c:pt>
                <c:pt idx="317">
                  <c:v>14.66</c:v>
                </c:pt>
                <c:pt idx="318">
                  <c:v>13.91</c:v>
                </c:pt>
                <c:pt idx="319">
                  <c:v>15.65</c:v>
                </c:pt>
                <c:pt idx="320">
                  <c:v>13.99</c:v>
                </c:pt>
                <c:pt idx="321">
                  <c:v>15.55</c:v>
                </c:pt>
                <c:pt idx="322">
                  <c:v>14.8</c:v>
                </c:pt>
                <c:pt idx="323">
                  <c:v>15.22</c:v>
                </c:pt>
                <c:pt idx="324">
                  <c:v>15.53</c:v>
                </c:pt>
                <c:pt idx="325">
                  <c:v>14.37</c:v>
                </c:pt>
                <c:pt idx="326">
                  <c:v>14.81</c:v>
                </c:pt>
                <c:pt idx="327">
                  <c:v>15.48</c:v>
                </c:pt>
                <c:pt idx="328">
                  <c:v>15.86</c:v>
                </c:pt>
                <c:pt idx="329">
                  <c:v>13.89</c:v>
                </c:pt>
                <c:pt idx="330">
                  <c:v>16.57</c:v>
                </c:pt>
                <c:pt idx="331">
                  <c:v>16.2</c:v>
                </c:pt>
                <c:pt idx="332">
                  <c:v>16.100000000000001</c:v>
                </c:pt>
                <c:pt idx="333">
                  <c:v>18.39</c:v>
                </c:pt>
                <c:pt idx="334">
                  <c:v>16.04</c:v>
                </c:pt>
                <c:pt idx="335">
                  <c:v>18.68</c:v>
                </c:pt>
                <c:pt idx="336">
                  <c:v>18.260000000000002</c:v>
                </c:pt>
                <c:pt idx="337">
                  <c:v>17.600000000000001</c:v>
                </c:pt>
                <c:pt idx="338">
                  <c:v>16.02</c:v>
                </c:pt>
                <c:pt idx="339">
                  <c:v>18.28</c:v>
                </c:pt>
                <c:pt idx="340">
                  <c:v>16.54</c:v>
                </c:pt>
                <c:pt idx="341">
                  <c:v>18.91</c:v>
                </c:pt>
                <c:pt idx="342">
                  <c:v>18.079999999999998</c:v>
                </c:pt>
                <c:pt idx="343">
                  <c:v>18.649999999999999</c:v>
                </c:pt>
                <c:pt idx="344">
                  <c:v>18.260000000000002</c:v>
                </c:pt>
                <c:pt idx="345">
                  <c:v>20.440000000000001</c:v>
                </c:pt>
                <c:pt idx="346">
                  <c:v>17.84</c:v>
                </c:pt>
                <c:pt idx="347">
                  <c:v>20.239999999999998</c:v>
                </c:pt>
                <c:pt idx="348">
                  <c:v>17.75</c:v>
                </c:pt>
                <c:pt idx="349">
                  <c:v>19.149999999999999</c:v>
                </c:pt>
                <c:pt idx="350">
                  <c:v>17.53</c:v>
                </c:pt>
                <c:pt idx="351">
                  <c:v>18.809999999999999</c:v>
                </c:pt>
                <c:pt idx="352">
                  <c:v>19.190000000000001</c:v>
                </c:pt>
                <c:pt idx="353">
                  <c:v>16.940000000000001</c:v>
                </c:pt>
                <c:pt idx="354">
                  <c:v>17.84</c:v>
                </c:pt>
                <c:pt idx="355">
                  <c:v>20.61</c:v>
                </c:pt>
                <c:pt idx="356">
                  <c:v>22.51</c:v>
                </c:pt>
                <c:pt idx="357">
                  <c:v>18.89</c:v>
                </c:pt>
                <c:pt idx="358">
                  <c:v>17.920000000000002</c:v>
                </c:pt>
                <c:pt idx="359">
                  <c:v>19.149999999999999</c:v>
                </c:pt>
                <c:pt idx="360">
                  <c:v>19.64</c:v>
                </c:pt>
                <c:pt idx="361">
                  <c:v>20.16</c:v>
                </c:pt>
                <c:pt idx="362">
                  <c:v>19.03</c:v>
                </c:pt>
                <c:pt idx="363">
                  <c:v>20.12</c:v>
                </c:pt>
                <c:pt idx="364">
                  <c:v>19.96</c:v>
                </c:pt>
                <c:pt idx="365">
                  <c:v>22.4</c:v>
                </c:pt>
                <c:pt idx="366">
                  <c:v>22.56</c:v>
                </c:pt>
                <c:pt idx="367">
                  <c:v>22.16</c:v>
                </c:pt>
                <c:pt idx="368">
                  <c:v>22.16</c:v>
                </c:pt>
                <c:pt idx="369">
                  <c:v>25.35</c:v>
                </c:pt>
                <c:pt idx="370">
                  <c:v>23.19</c:v>
                </c:pt>
                <c:pt idx="371">
                  <c:v>21.41</c:v>
                </c:pt>
                <c:pt idx="372">
                  <c:v>23.08</c:v>
                </c:pt>
                <c:pt idx="373">
                  <c:v>23.47</c:v>
                </c:pt>
                <c:pt idx="374">
                  <c:v>20.6</c:v>
                </c:pt>
                <c:pt idx="375">
                  <c:v>23.16</c:v>
                </c:pt>
                <c:pt idx="376">
                  <c:v>24.69</c:v>
                </c:pt>
                <c:pt idx="377">
                  <c:v>23.95</c:v>
                </c:pt>
                <c:pt idx="378">
                  <c:v>22.05</c:v>
                </c:pt>
                <c:pt idx="379">
                  <c:v>23.61</c:v>
                </c:pt>
                <c:pt idx="380">
                  <c:v>23.58</c:v>
                </c:pt>
                <c:pt idx="381">
                  <c:v>23.59</c:v>
                </c:pt>
                <c:pt idx="382">
                  <c:v>25.51</c:v>
                </c:pt>
                <c:pt idx="383">
                  <c:v>23.28</c:v>
                </c:pt>
                <c:pt idx="384">
                  <c:v>28.31</c:v>
                </c:pt>
                <c:pt idx="385">
                  <c:v>24.03</c:v>
                </c:pt>
                <c:pt idx="386">
                  <c:v>24.83</c:v>
                </c:pt>
                <c:pt idx="387">
                  <c:v>25.69</c:v>
                </c:pt>
                <c:pt idx="388">
                  <c:v>24.81</c:v>
                </c:pt>
                <c:pt idx="389">
                  <c:v>25.66</c:v>
                </c:pt>
                <c:pt idx="390">
                  <c:v>23.96</c:v>
                </c:pt>
                <c:pt idx="391">
                  <c:v>25.09</c:v>
                </c:pt>
                <c:pt idx="392">
                  <c:v>23.57</c:v>
                </c:pt>
                <c:pt idx="393">
                  <c:v>24.21</c:v>
                </c:pt>
                <c:pt idx="394">
                  <c:v>22.75</c:v>
                </c:pt>
                <c:pt idx="395">
                  <c:v>25.64</c:v>
                </c:pt>
                <c:pt idx="396">
                  <c:v>24.22</c:v>
                </c:pt>
                <c:pt idx="397">
                  <c:v>25.86</c:v>
                </c:pt>
                <c:pt idx="398">
                  <c:v>28.17</c:v>
                </c:pt>
                <c:pt idx="399">
                  <c:v>22.12</c:v>
                </c:pt>
                <c:pt idx="400">
                  <c:v>22.4</c:v>
                </c:pt>
                <c:pt idx="401">
                  <c:v>23.26</c:v>
                </c:pt>
                <c:pt idx="402">
                  <c:v>23.67</c:v>
                </c:pt>
                <c:pt idx="403">
                  <c:v>23.7</c:v>
                </c:pt>
                <c:pt idx="404">
                  <c:v>23.41</c:v>
                </c:pt>
                <c:pt idx="405">
                  <c:v>22.3</c:v>
                </c:pt>
                <c:pt idx="406">
                  <c:v>21.97</c:v>
                </c:pt>
                <c:pt idx="407">
                  <c:v>23.74</c:v>
                </c:pt>
                <c:pt idx="408">
                  <c:v>22.39</c:v>
                </c:pt>
                <c:pt idx="409">
                  <c:v>21.52</c:v>
                </c:pt>
                <c:pt idx="410">
                  <c:v>20.97</c:v>
                </c:pt>
                <c:pt idx="411">
                  <c:v>23.52</c:v>
                </c:pt>
                <c:pt idx="412">
                  <c:v>22.71</c:v>
                </c:pt>
                <c:pt idx="413">
                  <c:v>21.67</c:v>
                </c:pt>
                <c:pt idx="414">
                  <c:v>22.29</c:v>
                </c:pt>
                <c:pt idx="415">
                  <c:v>22.09</c:v>
                </c:pt>
                <c:pt idx="416">
                  <c:v>22.51</c:v>
                </c:pt>
                <c:pt idx="417">
                  <c:v>24.21</c:v>
                </c:pt>
                <c:pt idx="418">
                  <c:v>22.17</c:v>
                </c:pt>
                <c:pt idx="419">
                  <c:v>23.05</c:v>
                </c:pt>
                <c:pt idx="420">
                  <c:v>27.31</c:v>
                </c:pt>
                <c:pt idx="421">
                  <c:v>27.18</c:v>
                </c:pt>
                <c:pt idx="422">
                  <c:v>23.54</c:v>
                </c:pt>
                <c:pt idx="423">
                  <c:v>24.61</c:v>
                </c:pt>
                <c:pt idx="424">
                  <c:v>24.18</c:v>
                </c:pt>
                <c:pt idx="425">
                  <c:v>24.84</c:v>
                </c:pt>
                <c:pt idx="426">
                  <c:v>22.37</c:v>
                </c:pt>
                <c:pt idx="427">
                  <c:v>24.61</c:v>
                </c:pt>
                <c:pt idx="428">
                  <c:v>25.56</c:v>
                </c:pt>
                <c:pt idx="429">
                  <c:v>24.53</c:v>
                </c:pt>
                <c:pt idx="430">
                  <c:v>25.52</c:v>
                </c:pt>
                <c:pt idx="431">
                  <c:v>27.21</c:v>
                </c:pt>
                <c:pt idx="432">
                  <c:v>23.82</c:v>
                </c:pt>
                <c:pt idx="433">
                  <c:v>14.52</c:v>
                </c:pt>
                <c:pt idx="434">
                  <c:v>26.22</c:v>
                </c:pt>
                <c:pt idx="435">
                  <c:v>25.29</c:v>
                </c:pt>
                <c:pt idx="436">
                  <c:v>25.09</c:v>
                </c:pt>
                <c:pt idx="437">
                  <c:v>25.91</c:v>
                </c:pt>
                <c:pt idx="439">
                  <c:v>28.07</c:v>
                </c:pt>
                <c:pt idx="440">
                  <c:v>24.76</c:v>
                </c:pt>
                <c:pt idx="441">
                  <c:v>23.48</c:v>
                </c:pt>
                <c:pt idx="442">
                  <c:v>24.95</c:v>
                </c:pt>
                <c:pt idx="443">
                  <c:v>26</c:v>
                </c:pt>
                <c:pt idx="444">
                  <c:v>25.89</c:v>
                </c:pt>
                <c:pt idx="445">
                  <c:v>24.93</c:v>
                </c:pt>
                <c:pt idx="446">
                  <c:v>23.84</c:v>
                </c:pt>
                <c:pt idx="447">
                  <c:v>25.52</c:v>
                </c:pt>
                <c:pt idx="448">
                  <c:v>22.65</c:v>
                </c:pt>
                <c:pt idx="449">
                  <c:v>22.33</c:v>
                </c:pt>
                <c:pt idx="450">
                  <c:v>21.72</c:v>
                </c:pt>
                <c:pt idx="451">
                  <c:v>21.26</c:v>
                </c:pt>
                <c:pt idx="452">
                  <c:v>21.58</c:v>
                </c:pt>
                <c:pt idx="453">
                  <c:v>22.01</c:v>
                </c:pt>
                <c:pt idx="454">
                  <c:v>24.47</c:v>
                </c:pt>
                <c:pt idx="455">
                  <c:v>22.58</c:v>
                </c:pt>
                <c:pt idx="456">
                  <c:v>22.68</c:v>
                </c:pt>
                <c:pt idx="457">
                  <c:v>21.67</c:v>
                </c:pt>
                <c:pt idx="458">
                  <c:v>23.44</c:v>
                </c:pt>
                <c:pt idx="459">
                  <c:v>20.329999999999998</c:v>
                </c:pt>
                <c:pt idx="460">
                  <c:v>21.67</c:v>
                </c:pt>
                <c:pt idx="461">
                  <c:v>19.75</c:v>
                </c:pt>
                <c:pt idx="462">
                  <c:v>20.94</c:v>
                </c:pt>
                <c:pt idx="463">
                  <c:v>19.190000000000001</c:v>
                </c:pt>
                <c:pt idx="464">
                  <c:v>20.22</c:v>
                </c:pt>
                <c:pt idx="465">
                  <c:v>20.93</c:v>
                </c:pt>
                <c:pt idx="466">
                  <c:v>21.37</c:v>
                </c:pt>
                <c:pt idx="467">
                  <c:v>20.76</c:v>
                </c:pt>
                <c:pt idx="468" formatCode="General">
                  <c:v>20.47</c:v>
                </c:pt>
                <c:pt idx="469" formatCode="General">
                  <c:v>22.12</c:v>
                </c:pt>
                <c:pt idx="470" formatCode="General">
                  <c:v>28.02</c:v>
                </c:pt>
                <c:pt idx="471" formatCode="General">
                  <c:v>22.2</c:v>
                </c:pt>
                <c:pt idx="472" formatCode="General">
                  <c:v>21.7</c:v>
                </c:pt>
                <c:pt idx="473" formatCode="General">
                  <c:v>24.33</c:v>
                </c:pt>
                <c:pt idx="474" formatCode="General">
                  <c:v>21.81</c:v>
                </c:pt>
                <c:pt idx="475" formatCode="General">
                  <c:v>22.24</c:v>
                </c:pt>
                <c:pt idx="476" formatCode="General">
                  <c:v>20.97</c:v>
                </c:pt>
                <c:pt idx="477" formatCode="General">
                  <c:v>22.11</c:v>
                </c:pt>
                <c:pt idx="478" formatCode="General">
                  <c:v>22.64</c:v>
                </c:pt>
                <c:pt idx="479" formatCode="General">
                  <c:v>19.78</c:v>
                </c:pt>
                <c:pt idx="480" formatCode="General">
                  <c:v>22.35</c:v>
                </c:pt>
                <c:pt idx="481" formatCode="General">
                  <c:v>20.85</c:v>
                </c:pt>
                <c:pt idx="482" formatCode="General">
                  <c:v>23.49</c:v>
                </c:pt>
                <c:pt idx="483" formatCode="General">
                  <c:v>20.71</c:v>
                </c:pt>
                <c:pt idx="496" formatCode="General">
                  <c:v>21.45</c:v>
                </c:pt>
                <c:pt idx="497" formatCode="General">
                  <c:v>20.7</c:v>
                </c:pt>
                <c:pt idx="498" formatCode="General">
                  <c:v>25.48</c:v>
                </c:pt>
                <c:pt idx="499" formatCode="General">
                  <c:v>22.99</c:v>
                </c:pt>
                <c:pt idx="500" formatCode="General">
                  <c:v>17.96</c:v>
                </c:pt>
                <c:pt idx="501" formatCode="General">
                  <c:v>21.98</c:v>
                </c:pt>
                <c:pt idx="502" formatCode="General">
                  <c:v>18.41</c:v>
                </c:pt>
                <c:pt idx="503" formatCode="General">
                  <c:v>21.51</c:v>
                </c:pt>
                <c:pt idx="504" formatCode="General">
                  <c:v>19.989999999999998</c:v>
                </c:pt>
                <c:pt idx="505" formatCode="General">
                  <c:v>19.21</c:v>
                </c:pt>
                <c:pt idx="506" formatCode="General">
                  <c:v>21.51</c:v>
                </c:pt>
                <c:pt idx="507" formatCode="General">
                  <c:v>22.07</c:v>
                </c:pt>
                <c:pt idx="508" formatCode="General">
                  <c:v>24.31</c:v>
                </c:pt>
                <c:pt idx="509" formatCode="General">
                  <c:v>20.63</c:v>
                </c:pt>
                <c:pt idx="510" formatCode="General">
                  <c:v>28.84</c:v>
                </c:pt>
                <c:pt idx="511" formatCode="General">
                  <c:v>19.34</c:v>
                </c:pt>
                <c:pt idx="512" formatCode="General">
                  <c:v>20.62</c:v>
                </c:pt>
                <c:pt idx="513" formatCode="General">
                  <c:v>22.48</c:v>
                </c:pt>
                <c:pt idx="514" formatCode="General">
                  <c:v>22.38</c:v>
                </c:pt>
                <c:pt idx="515" formatCode="General">
                  <c:v>21.35</c:v>
                </c:pt>
                <c:pt idx="516" formatCode="General">
                  <c:v>29.51</c:v>
                </c:pt>
                <c:pt idx="517" formatCode="General">
                  <c:v>21.43</c:v>
                </c:pt>
                <c:pt idx="518" formatCode="General">
                  <c:v>20.32</c:v>
                </c:pt>
                <c:pt idx="519" formatCode="General">
                  <c:v>26.84</c:v>
                </c:pt>
                <c:pt idx="520" formatCode="General">
                  <c:v>22.75</c:v>
                </c:pt>
                <c:pt idx="521" formatCode="General">
                  <c:v>21.51</c:v>
                </c:pt>
                <c:pt idx="522" formatCode="General">
                  <c:v>22.44</c:v>
                </c:pt>
                <c:pt idx="523" formatCode="General">
                  <c:v>24.94</c:v>
                </c:pt>
                <c:pt idx="524" formatCode="General">
                  <c:v>27.9</c:v>
                </c:pt>
                <c:pt idx="525" formatCode="General">
                  <c:v>24.7</c:v>
                </c:pt>
                <c:pt idx="526" formatCode="General">
                  <c:v>25.48</c:v>
                </c:pt>
                <c:pt idx="527" formatCode="General">
                  <c:v>22.74</c:v>
                </c:pt>
                <c:pt idx="528" formatCode="General">
                  <c:v>23.5</c:v>
                </c:pt>
                <c:pt idx="529" formatCode="General">
                  <c:v>25.89</c:v>
                </c:pt>
                <c:pt idx="530" formatCode="General">
                  <c:v>25.51</c:v>
                </c:pt>
                <c:pt idx="531" formatCode="General">
                  <c:v>24.23</c:v>
                </c:pt>
                <c:pt idx="532" formatCode="General">
                  <c:v>26.5</c:v>
                </c:pt>
                <c:pt idx="533" formatCode="General">
                  <c:v>25.9</c:v>
                </c:pt>
                <c:pt idx="534" formatCode="General">
                  <c:v>24.99</c:v>
                </c:pt>
                <c:pt idx="535" formatCode="General">
                  <c:v>25.56</c:v>
                </c:pt>
                <c:pt idx="536" formatCode="General">
                  <c:v>28.5</c:v>
                </c:pt>
                <c:pt idx="537" formatCode="General">
                  <c:v>24.98</c:v>
                </c:pt>
                <c:pt idx="538" formatCode="General">
                  <c:v>27.06</c:v>
                </c:pt>
                <c:pt idx="539" formatCode="General">
                  <c:v>27.42</c:v>
                </c:pt>
                <c:pt idx="540" formatCode="General">
                  <c:v>27.31</c:v>
                </c:pt>
                <c:pt idx="541" formatCode="General">
                  <c:v>25.47</c:v>
                </c:pt>
                <c:pt idx="542" formatCode="General">
                  <c:v>26.72</c:v>
                </c:pt>
                <c:pt idx="543" formatCode="General">
                  <c:v>31.32</c:v>
                </c:pt>
                <c:pt idx="544" formatCode="General">
                  <c:v>25.61</c:v>
                </c:pt>
                <c:pt idx="545" formatCode="General">
                  <c:v>28.25</c:v>
                </c:pt>
                <c:pt idx="546" formatCode="General">
                  <c:v>25.44</c:v>
                </c:pt>
                <c:pt idx="547" formatCode="General">
                  <c:v>27.59</c:v>
                </c:pt>
                <c:pt idx="548" formatCode="General">
                  <c:v>30.01</c:v>
                </c:pt>
                <c:pt idx="549" formatCode="General">
                  <c:v>25.77</c:v>
                </c:pt>
                <c:pt idx="550" formatCode="General">
                  <c:v>26.26</c:v>
                </c:pt>
                <c:pt idx="551" formatCode="General">
                  <c:v>24.29</c:v>
                </c:pt>
                <c:pt idx="552" formatCode="General">
                  <c:v>25.53</c:v>
                </c:pt>
                <c:pt idx="553" formatCode="General">
                  <c:v>22.85</c:v>
                </c:pt>
                <c:pt idx="554">
                  <c:v>25.14</c:v>
                </c:pt>
                <c:pt idx="555">
                  <c:v>25.33</c:v>
                </c:pt>
                <c:pt idx="556">
                  <c:v>30.34</c:v>
                </c:pt>
                <c:pt idx="557">
                  <c:v>26.06</c:v>
                </c:pt>
                <c:pt idx="558">
                  <c:v>24.65</c:v>
                </c:pt>
                <c:pt idx="559">
                  <c:v>22.98</c:v>
                </c:pt>
                <c:pt idx="560">
                  <c:v>25.34</c:v>
                </c:pt>
                <c:pt idx="563">
                  <c:v>25.49</c:v>
                </c:pt>
                <c:pt idx="564">
                  <c:v>23.46</c:v>
                </c:pt>
                <c:pt idx="565">
                  <c:v>28.33</c:v>
                </c:pt>
                <c:pt idx="566">
                  <c:v>29.92</c:v>
                </c:pt>
                <c:pt idx="567">
                  <c:v>25.6</c:v>
                </c:pt>
                <c:pt idx="568">
                  <c:v>25.21</c:v>
                </c:pt>
                <c:pt idx="569">
                  <c:v>27.73</c:v>
                </c:pt>
                <c:pt idx="570">
                  <c:v>27.61</c:v>
                </c:pt>
                <c:pt idx="571">
                  <c:v>28.87</c:v>
                </c:pt>
                <c:pt idx="572">
                  <c:v>28.02</c:v>
                </c:pt>
                <c:pt idx="573">
                  <c:v>27.8</c:v>
                </c:pt>
                <c:pt idx="574">
                  <c:v>24.31</c:v>
                </c:pt>
                <c:pt idx="575">
                  <c:v>31.94</c:v>
                </c:pt>
                <c:pt idx="576">
                  <c:v>35.9</c:v>
                </c:pt>
                <c:pt idx="577">
                  <c:v>28.46</c:v>
                </c:pt>
                <c:pt idx="578">
                  <c:v>28.67</c:v>
                </c:pt>
                <c:pt idx="579">
                  <c:v>31.51</c:v>
                </c:pt>
                <c:pt idx="580">
                  <c:v>27.31</c:v>
                </c:pt>
                <c:pt idx="581">
                  <c:v>29.77</c:v>
                </c:pt>
                <c:pt idx="582">
                  <c:v>28.35</c:v>
                </c:pt>
                <c:pt idx="583" formatCode="General">
                  <c:v>28.06</c:v>
                </c:pt>
                <c:pt idx="584" formatCode="General">
                  <c:v>30.47</c:v>
                </c:pt>
                <c:pt idx="585" formatCode="General">
                  <c:v>28.19</c:v>
                </c:pt>
                <c:pt idx="586" formatCode="General">
                  <c:v>31.79</c:v>
                </c:pt>
                <c:pt idx="587" formatCode="General">
                  <c:v>34.26</c:v>
                </c:pt>
                <c:pt idx="588" formatCode="General">
                  <c:v>30.35</c:v>
                </c:pt>
                <c:pt idx="589" formatCode="General">
                  <c:v>28.72</c:v>
                </c:pt>
                <c:pt idx="590" formatCode="General">
                  <c:v>28.86</c:v>
                </c:pt>
                <c:pt idx="591" formatCode="General">
                  <c:v>28.87</c:v>
                </c:pt>
                <c:pt idx="592" formatCode="General">
                  <c:v>29.66</c:v>
                </c:pt>
                <c:pt idx="593" formatCode="General">
                  <c:v>26.89</c:v>
                </c:pt>
                <c:pt idx="594" formatCode="General">
                  <c:v>26.51</c:v>
                </c:pt>
                <c:pt idx="595" formatCode="General">
                  <c:v>26.54</c:v>
                </c:pt>
                <c:pt idx="596" formatCode="General">
                  <c:v>32.57</c:v>
                </c:pt>
                <c:pt idx="597" formatCode="General">
                  <c:v>28.16</c:v>
                </c:pt>
                <c:pt idx="598" formatCode="General">
                  <c:v>25.37</c:v>
                </c:pt>
                <c:pt idx="599" formatCode="General">
                  <c:v>24.12</c:v>
                </c:pt>
                <c:pt idx="600" formatCode="General">
                  <c:v>27.82</c:v>
                </c:pt>
                <c:pt idx="601" formatCode="General">
                  <c:v>27.84</c:v>
                </c:pt>
                <c:pt idx="602" formatCode="General">
                  <c:v>25.61</c:v>
                </c:pt>
                <c:pt idx="603" formatCode="General">
                  <c:v>26.67</c:v>
                </c:pt>
                <c:pt idx="604" formatCode="General">
                  <c:v>31.81</c:v>
                </c:pt>
                <c:pt idx="605" formatCode="General">
                  <c:v>24.29</c:v>
                </c:pt>
                <c:pt idx="606" formatCode="General">
                  <c:v>26.72</c:v>
                </c:pt>
                <c:pt idx="607" formatCode="General">
                  <c:v>26.62</c:v>
                </c:pt>
                <c:pt idx="608" formatCode="General">
                  <c:v>25.63</c:v>
                </c:pt>
                <c:pt idx="609" formatCode="General">
                  <c:v>25.79</c:v>
                </c:pt>
                <c:pt idx="610" formatCode="General">
                  <c:v>28.83</c:v>
                </c:pt>
                <c:pt idx="611" formatCode="General">
                  <c:v>26.58</c:v>
                </c:pt>
                <c:pt idx="612" formatCode="General">
                  <c:v>25.56</c:v>
                </c:pt>
                <c:pt idx="613" formatCode="General">
                  <c:v>27.63</c:v>
                </c:pt>
                <c:pt idx="614" formatCode="General">
                  <c:v>31.95</c:v>
                </c:pt>
                <c:pt idx="615" formatCode="General">
                  <c:v>25.63</c:v>
                </c:pt>
                <c:pt idx="620" formatCode="General">
                  <c:v>27.55</c:v>
                </c:pt>
                <c:pt idx="621" formatCode="General">
                  <c:v>30.54</c:v>
                </c:pt>
                <c:pt idx="622" formatCode="General">
                  <c:v>29.77</c:v>
                </c:pt>
                <c:pt idx="623" formatCode="General">
                  <c:v>27.55</c:v>
                </c:pt>
                <c:pt idx="624" formatCode="General">
                  <c:v>30.29</c:v>
                </c:pt>
                <c:pt idx="625" formatCode="General">
                  <c:v>29.83</c:v>
                </c:pt>
                <c:pt idx="626" formatCode="General">
                  <c:v>27.92</c:v>
                </c:pt>
                <c:pt idx="627" formatCode="General">
                  <c:v>43.51</c:v>
                </c:pt>
                <c:pt idx="628" formatCode="General">
                  <c:v>29.83</c:v>
                </c:pt>
                <c:pt idx="629" formatCode="General">
                  <c:v>29.75</c:v>
                </c:pt>
                <c:pt idx="630" formatCode="General">
                  <c:v>29.62</c:v>
                </c:pt>
                <c:pt idx="631" formatCode="General">
                  <c:v>29.67</c:v>
                </c:pt>
                <c:pt idx="633" formatCode="General">
                  <c:v>28.44</c:v>
                </c:pt>
                <c:pt idx="634" formatCode="General">
                  <c:v>28.86</c:v>
                </c:pt>
                <c:pt idx="635" formatCode="General">
                  <c:v>27.76</c:v>
                </c:pt>
                <c:pt idx="636" formatCode="General">
                  <c:v>26.33</c:v>
                </c:pt>
                <c:pt idx="637" formatCode="General">
                  <c:v>26.96</c:v>
                </c:pt>
                <c:pt idx="638" formatCode="General">
                  <c:v>31.58</c:v>
                </c:pt>
                <c:pt idx="639" formatCode="General">
                  <c:v>26.53</c:v>
                </c:pt>
                <c:pt idx="640" formatCode="General">
                  <c:v>22.75</c:v>
                </c:pt>
                <c:pt idx="641" formatCode="General">
                  <c:v>26.82</c:v>
                </c:pt>
                <c:pt idx="642" formatCode="General">
                  <c:v>25.73</c:v>
                </c:pt>
                <c:pt idx="643" formatCode="General">
                  <c:v>27.85</c:v>
                </c:pt>
                <c:pt idx="644" formatCode="General">
                  <c:v>24.27</c:v>
                </c:pt>
                <c:pt idx="645" formatCode="General">
                  <c:v>24.95</c:v>
                </c:pt>
                <c:pt idx="646" formatCode="General">
                  <c:v>22.55</c:v>
                </c:pt>
                <c:pt idx="647" formatCode="General">
                  <c:v>26.67</c:v>
                </c:pt>
                <c:pt idx="648" formatCode="General">
                  <c:v>26.82</c:v>
                </c:pt>
                <c:pt idx="649" formatCode="General">
                  <c:v>23.86</c:v>
                </c:pt>
                <c:pt idx="650" formatCode="General">
                  <c:v>22.83</c:v>
                </c:pt>
                <c:pt idx="651" formatCode="General">
                  <c:v>22.48</c:v>
                </c:pt>
                <c:pt idx="652" formatCode="General">
                  <c:v>23.43</c:v>
                </c:pt>
                <c:pt idx="653" formatCode="General">
                  <c:v>24.67</c:v>
                </c:pt>
                <c:pt idx="654" formatCode="General">
                  <c:v>22.7</c:v>
                </c:pt>
                <c:pt idx="655" formatCode="General">
                  <c:v>24.55</c:v>
                </c:pt>
                <c:pt idx="656" formatCode="General">
                  <c:v>23.18</c:v>
                </c:pt>
                <c:pt idx="657" formatCode="General">
                  <c:v>25.08</c:v>
                </c:pt>
                <c:pt idx="658" formatCode="General">
                  <c:v>23.63</c:v>
                </c:pt>
                <c:pt idx="659" formatCode="General">
                  <c:v>26.41</c:v>
                </c:pt>
                <c:pt idx="660" formatCode="General">
                  <c:v>24.06</c:v>
                </c:pt>
                <c:pt idx="661" formatCode="General">
                  <c:v>24.49</c:v>
                </c:pt>
                <c:pt idx="662" formatCode="General">
                  <c:v>23.39</c:v>
                </c:pt>
                <c:pt idx="663" formatCode="General">
                  <c:v>24.62</c:v>
                </c:pt>
                <c:pt idx="664" formatCode="General">
                  <c:v>27.92</c:v>
                </c:pt>
                <c:pt idx="665" formatCode="General">
                  <c:v>24.2</c:v>
                </c:pt>
                <c:pt idx="666" formatCode="General">
                  <c:v>24.84</c:v>
                </c:pt>
                <c:pt idx="667" formatCode="General">
                  <c:v>25.69</c:v>
                </c:pt>
                <c:pt idx="668" formatCode="General">
                  <c:v>28.56</c:v>
                </c:pt>
                <c:pt idx="669" formatCode="General">
                  <c:v>25.74</c:v>
                </c:pt>
                <c:pt idx="670" formatCode="General">
                  <c:v>29.75</c:v>
                </c:pt>
                <c:pt idx="671" formatCode="General">
                  <c:v>26.62</c:v>
                </c:pt>
                <c:pt idx="672" formatCode="General">
                  <c:v>25.11</c:v>
                </c:pt>
                <c:pt idx="673" formatCode="General">
                  <c:v>23.49</c:v>
                </c:pt>
                <c:pt idx="674" formatCode="General">
                  <c:v>26.2</c:v>
                </c:pt>
                <c:pt idx="675" formatCode="General">
                  <c:v>30.26</c:v>
                </c:pt>
                <c:pt idx="676" formatCode="General">
                  <c:v>23.36</c:v>
                </c:pt>
                <c:pt idx="677" formatCode="General">
                  <c:v>26.27</c:v>
                </c:pt>
                <c:pt idx="678" formatCode="General">
                  <c:v>25.78</c:v>
                </c:pt>
                <c:pt idx="679" formatCode="General">
                  <c:v>28.4</c:v>
                </c:pt>
                <c:pt idx="680" formatCode="General">
                  <c:v>24.18</c:v>
                </c:pt>
                <c:pt idx="681" formatCode="General">
                  <c:v>25.65</c:v>
                </c:pt>
                <c:pt idx="682" formatCode="General">
                  <c:v>24.07</c:v>
                </c:pt>
                <c:pt idx="683" formatCode="General">
                  <c:v>25.73</c:v>
                </c:pt>
                <c:pt idx="684" formatCode="General">
                  <c:v>25.24</c:v>
                </c:pt>
                <c:pt idx="685" formatCode="General">
                  <c:v>26.49</c:v>
                </c:pt>
                <c:pt idx="686" formatCode="General">
                  <c:v>24.19</c:v>
                </c:pt>
                <c:pt idx="687" formatCode="General">
                  <c:v>26.51</c:v>
                </c:pt>
                <c:pt idx="688" formatCode="General">
                  <c:v>24.4</c:v>
                </c:pt>
                <c:pt idx="689" formatCode="General">
                  <c:v>27.67</c:v>
                </c:pt>
                <c:pt idx="690" formatCode="General">
                  <c:v>24.14</c:v>
                </c:pt>
                <c:pt idx="691" formatCode="General">
                  <c:v>26.53</c:v>
                </c:pt>
                <c:pt idx="692" formatCode="General">
                  <c:v>24.93</c:v>
                </c:pt>
                <c:pt idx="693" formatCode="General">
                  <c:v>23.71</c:v>
                </c:pt>
                <c:pt idx="694" formatCode="General">
                  <c:v>20.71</c:v>
                </c:pt>
                <c:pt idx="695" formatCode="General">
                  <c:v>20.260000000000002</c:v>
                </c:pt>
                <c:pt idx="696" formatCode="General">
                  <c:v>18.87</c:v>
                </c:pt>
                <c:pt idx="697" formatCode="General">
                  <c:v>21.43</c:v>
                </c:pt>
                <c:pt idx="698" formatCode="General">
                  <c:v>21.41</c:v>
                </c:pt>
                <c:pt idx="699" formatCode="General">
                  <c:v>20.260000000000002</c:v>
                </c:pt>
                <c:pt idx="700" formatCode="General">
                  <c:v>23.78</c:v>
                </c:pt>
                <c:pt idx="701" formatCode="General">
                  <c:v>22.63</c:v>
                </c:pt>
                <c:pt idx="702" formatCode="General">
                  <c:v>22.48</c:v>
                </c:pt>
                <c:pt idx="703" formatCode="General">
                  <c:v>22.18</c:v>
                </c:pt>
                <c:pt idx="704" formatCode="General">
                  <c:v>22.92</c:v>
                </c:pt>
                <c:pt idx="705" formatCode="General">
                  <c:v>20.37</c:v>
                </c:pt>
                <c:pt idx="706" formatCode="General">
                  <c:v>22.13</c:v>
                </c:pt>
                <c:pt idx="707" formatCode="General">
                  <c:v>21.12</c:v>
                </c:pt>
                <c:pt idx="708" formatCode="General">
                  <c:v>24.1</c:v>
                </c:pt>
                <c:pt idx="709" formatCode="General">
                  <c:v>23.37</c:v>
                </c:pt>
                <c:pt idx="710" formatCode="General">
                  <c:v>24.52</c:v>
                </c:pt>
                <c:pt idx="711" formatCode="General">
                  <c:v>25.68</c:v>
                </c:pt>
                <c:pt idx="712" formatCode="General">
                  <c:v>23.44</c:v>
                </c:pt>
                <c:pt idx="713" formatCode="General">
                  <c:v>22.14</c:v>
                </c:pt>
                <c:pt idx="714" formatCode="General">
                  <c:v>26.62</c:v>
                </c:pt>
                <c:pt idx="715" formatCode="General">
                  <c:v>24.44</c:v>
                </c:pt>
                <c:pt idx="716" formatCode="General">
                  <c:v>22.55</c:v>
                </c:pt>
                <c:pt idx="717" formatCode="General">
                  <c:v>25.1</c:v>
                </c:pt>
                <c:pt idx="718" formatCode="General">
                  <c:v>23.54</c:v>
                </c:pt>
                <c:pt idx="719" formatCode="General">
                  <c:v>22.14</c:v>
                </c:pt>
                <c:pt idx="720" formatCode="General">
                  <c:v>23.39</c:v>
                </c:pt>
                <c:pt idx="721" formatCode="General">
                  <c:v>21.81</c:v>
                </c:pt>
                <c:pt idx="722" formatCode="General">
                  <c:v>23.46</c:v>
                </c:pt>
                <c:pt idx="723" formatCode="General">
                  <c:v>25.75</c:v>
                </c:pt>
                <c:pt idx="724" formatCode="General">
                  <c:v>22.74</c:v>
                </c:pt>
                <c:pt idx="725" formatCode="General">
                  <c:v>22.19</c:v>
                </c:pt>
                <c:pt idx="726" formatCode="General">
                  <c:v>26.47</c:v>
                </c:pt>
                <c:pt idx="727" formatCode="General">
                  <c:v>25.98</c:v>
                </c:pt>
                <c:pt idx="728" formatCode="General">
                  <c:v>24.97</c:v>
                </c:pt>
                <c:pt idx="729" formatCode="General">
                  <c:v>25.4</c:v>
                </c:pt>
                <c:pt idx="730" formatCode="General">
                  <c:v>25.53</c:v>
                </c:pt>
                <c:pt idx="731" formatCode="General">
                  <c:v>26.09</c:v>
                </c:pt>
                <c:pt idx="732" formatCode="General">
                  <c:v>26.91</c:v>
                </c:pt>
                <c:pt idx="733" formatCode="General">
                  <c:v>24.69</c:v>
                </c:pt>
                <c:pt idx="734" formatCode="General">
                  <c:v>24.52</c:v>
                </c:pt>
                <c:pt idx="735" formatCode="General">
                  <c:v>26.29</c:v>
                </c:pt>
                <c:pt idx="736" formatCode="General">
                  <c:v>32.869999999999997</c:v>
                </c:pt>
                <c:pt idx="737" formatCode="General">
                  <c:v>26.42</c:v>
                </c:pt>
                <c:pt idx="738" formatCode="General">
                  <c:v>30.19</c:v>
                </c:pt>
                <c:pt idx="739" formatCode="General">
                  <c:v>24.58</c:v>
                </c:pt>
                <c:pt idx="740" formatCode="General">
                  <c:v>24.47</c:v>
                </c:pt>
                <c:pt idx="741" formatCode="General">
                  <c:v>24.76</c:v>
                </c:pt>
                <c:pt idx="743" formatCode="General">
                  <c:v>22.72</c:v>
                </c:pt>
                <c:pt idx="744" formatCode="General">
                  <c:v>21.63</c:v>
                </c:pt>
                <c:pt idx="745" formatCode="General">
                  <c:v>23.62</c:v>
                </c:pt>
                <c:pt idx="747" formatCode="General">
                  <c:v>24.32</c:v>
                </c:pt>
                <c:pt idx="748" formatCode="General">
                  <c:v>24.09</c:v>
                </c:pt>
                <c:pt idx="749" formatCode="General">
                  <c:v>24.74</c:v>
                </c:pt>
                <c:pt idx="750" formatCode="General">
                  <c:v>24.71</c:v>
                </c:pt>
                <c:pt idx="751" formatCode="General">
                  <c:v>25.79</c:v>
                </c:pt>
                <c:pt idx="752" formatCode="General">
                  <c:v>24.4</c:v>
                </c:pt>
                <c:pt idx="753" formatCode="General">
                  <c:v>24.25</c:v>
                </c:pt>
                <c:pt idx="754" formatCode="General">
                  <c:v>25.64</c:v>
                </c:pt>
                <c:pt idx="755" formatCode="General">
                  <c:v>28.18</c:v>
                </c:pt>
                <c:pt idx="756" formatCode="General">
                  <c:v>27.23</c:v>
                </c:pt>
                <c:pt idx="757" formatCode="General">
                  <c:v>25.4</c:v>
                </c:pt>
                <c:pt idx="758" formatCode="General">
                  <c:v>24.79</c:v>
                </c:pt>
                <c:pt idx="759" formatCode="General">
                  <c:v>23.91</c:v>
                </c:pt>
                <c:pt idx="760" formatCode="General">
                  <c:v>28.33</c:v>
                </c:pt>
                <c:pt idx="761" formatCode="General">
                  <c:v>24.8</c:v>
                </c:pt>
                <c:pt idx="762" formatCode="General">
                  <c:v>27.12</c:v>
                </c:pt>
                <c:pt idx="763" formatCode="General">
                  <c:v>26.71</c:v>
                </c:pt>
                <c:pt idx="764" formatCode="General">
                  <c:v>27.6</c:v>
                </c:pt>
                <c:pt idx="765" formatCode="General">
                  <c:v>28.71</c:v>
                </c:pt>
                <c:pt idx="766" formatCode="General">
                  <c:v>27.52</c:v>
                </c:pt>
                <c:pt idx="767" formatCode="General">
                  <c:v>26.78</c:v>
                </c:pt>
                <c:pt idx="768" formatCode="General">
                  <c:v>28.89</c:v>
                </c:pt>
                <c:pt idx="769" formatCode="General">
                  <c:v>33.92</c:v>
                </c:pt>
                <c:pt idx="770" formatCode="General">
                  <c:v>31.25</c:v>
                </c:pt>
                <c:pt idx="771" formatCode="General">
                  <c:v>29.12</c:v>
                </c:pt>
                <c:pt idx="773" formatCode="General">
                  <c:v>28.84</c:v>
                </c:pt>
                <c:pt idx="774" formatCode="General">
                  <c:v>29.55</c:v>
                </c:pt>
                <c:pt idx="775" formatCode="General">
                  <c:v>35.369999999999997</c:v>
                </c:pt>
                <c:pt idx="776" formatCode="General">
                  <c:v>31.37</c:v>
                </c:pt>
                <c:pt idx="777" formatCode="General">
                  <c:v>32.799999999999997</c:v>
                </c:pt>
                <c:pt idx="778" formatCode="General">
                  <c:v>31.44</c:v>
                </c:pt>
                <c:pt idx="779" formatCode="General">
                  <c:v>29.46</c:v>
                </c:pt>
                <c:pt idx="780" formatCode="General">
                  <c:v>30.85</c:v>
                </c:pt>
                <c:pt idx="781" formatCode="General">
                  <c:v>31.09</c:v>
                </c:pt>
                <c:pt idx="782" formatCode="General">
                  <c:v>30.77</c:v>
                </c:pt>
                <c:pt idx="783" formatCode="General">
                  <c:v>32.39</c:v>
                </c:pt>
                <c:pt idx="784" formatCode="General">
                  <c:v>30.81</c:v>
                </c:pt>
                <c:pt idx="785" formatCode="General">
                  <c:v>30.31</c:v>
                </c:pt>
                <c:pt idx="786" formatCode="General">
                  <c:v>27.45</c:v>
                </c:pt>
                <c:pt idx="787" formatCode="General">
                  <c:v>28.55</c:v>
                </c:pt>
                <c:pt idx="788" formatCode="General">
                  <c:v>25.4</c:v>
                </c:pt>
                <c:pt idx="789" formatCode="General">
                  <c:v>24.64</c:v>
                </c:pt>
                <c:pt idx="790" formatCode="General">
                  <c:v>26.42</c:v>
                </c:pt>
                <c:pt idx="791" formatCode="General">
                  <c:v>24.1</c:v>
                </c:pt>
                <c:pt idx="792" formatCode="General">
                  <c:v>27.93</c:v>
                </c:pt>
                <c:pt idx="793" formatCode="General">
                  <c:v>27.1</c:v>
                </c:pt>
                <c:pt idx="794" formatCode="General">
                  <c:v>30.94</c:v>
                </c:pt>
                <c:pt idx="795" formatCode="General">
                  <c:v>28.71</c:v>
                </c:pt>
                <c:pt idx="796" formatCode="General">
                  <c:v>29.89</c:v>
                </c:pt>
                <c:pt idx="797" formatCode="General">
                  <c:v>35.92</c:v>
                </c:pt>
                <c:pt idx="798" formatCode="General">
                  <c:v>29.11</c:v>
                </c:pt>
                <c:pt idx="799" formatCode="General">
                  <c:v>28.36</c:v>
                </c:pt>
                <c:pt idx="800" formatCode="General">
                  <c:v>33.869999999999997</c:v>
                </c:pt>
                <c:pt idx="801" formatCode="General">
                  <c:v>30.11</c:v>
                </c:pt>
              </c:numCache>
            </c:numRef>
          </c:val>
          <c:smooth val="0"/>
          <c:extLst>
            <c:ext xmlns:c16="http://schemas.microsoft.com/office/drawing/2014/chart" uri="{C3380CC4-5D6E-409C-BE32-E72D297353CC}">
              <c16:uniqueId val="{00000000-AAD1-4B85-844B-A131379944F0}"/>
            </c:ext>
          </c:extLst>
        </c:ser>
        <c:dLbls>
          <c:showLegendKey val="0"/>
          <c:showVal val="0"/>
          <c:showCatName val="0"/>
          <c:showSerName val="0"/>
          <c:showPercent val="0"/>
          <c:showBubbleSize val="0"/>
        </c:dLbls>
        <c:smooth val="0"/>
        <c:axId val="1222319839"/>
        <c:axId val="1"/>
      </c:lineChart>
      <c:catAx>
        <c:axId val="1222319839"/>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2319839"/>
        <c:crosses val="autoZero"/>
        <c:crossBetween val="between"/>
      </c:valAx>
      <c:spPr>
        <a:noFill/>
        <a:ln w="25400">
          <a:noFill/>
        </a:ln>
      </c:spPr>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Cows 3-in-1</a:t>
            </a:r>
          </a:p>
        </c:rich>
      </c:tx>
      <c:overlay val="0"/>
    </c:title>
    <c:autoTitleDeleted val="0"/>
    <c:plotArea>
      <c:layout/>
      <c:lineChart>
        <c:grouping val="standard"/>
        <c:varyColors val="0"/>
        <c:ser>
          <c:idx val="6"/>
          <c:order val="0"/>
          <c:tx>
            <c:strRef>
              <c:f>Summary!$P$3</c:f>
              <c:strCache>
                <c:ptCount val="1"/>
                <c:pt idx="0">
                  <c:v>Cows 3-in-1</c:v>
                </c:pt>
              </c:strCache>
            </c:strRef>
          </c:tx>
          <c:spPr>
            <a:ln w="12700">
              <a:solidFill>
                <a:schemeClr val="tx1"/>
              </a:solidFill>
            </a:ln>
          </c:spPr>
          <c:marker>
            <c:symbol val="none"/>
          </c:marker>
          <c:cat>
            <c:numRef>
              <c:f>Summary!$B$4:$B$808</c:f>
              <c:numCache>
                <c:formatCode>General</c:formatCode>
                <c:ptCount val="805"/>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P$4:$P$810</c:f>
              <c:numCache>
                <c:formatCode>0.00</c:formatCode>
                <c:ptCount val="807"/>
                <c:pt idx="0">
                  <c:v>13.24</c:v>
                </c:pt>
                <c:pt idx="2">
                  <c:v>11</c:v>
                </c:pt>
                <c:pt idx="3">
                  <c:v>10.63</c:v>
                </c:pt>
                <c:pt idx="9">
                  <c:v>10.47</c:v>
                </c:pt>
                <c:pt idx="23">
                  <c:v>11.72</c:v>
                </c:pt>
                <c:pt idx="27">
                  <c:v>9.6199999999999992</c:v>
                </c:pt>
                <c:pt idx="32">
                  <c:v>10.37</c:v>
                </c:pt>
                <c:pt idx="39">
                  <c:v>12.95</c:v>
                </c:pt>
                <c:pt idx="45">
                  <c:v>16.88</c:v>
                </c:pt>
                <c:pt idx="50">
                  <c:v>12.49</c:v>
                </c:pt>
                <c:pt idx="54">
                  <c:v>12.03</c:v>
                </c:pt>
                <c:pt idx="57">
                  <c:v>12.54</c:v>
                </c:pt>
                <c:pt idx="63">
                  <c:v>11.95</c:v>
                </c:pt>
                <c:pt idx="65">
                  <c:v>13.21</c:v>
                </c:pt>
                <c:pt idx="68">
                  <c:v>12.35</c:v>
                </c:pt>
                <c:pt idx="79">
                  <c:v>18.37</c:v>
                </c:pt>
                <c:pt idx="95">
                  <c:v>15.82</c:v>
                </c:pt>
                <c:pt idx="100">
                  <c:v>17.27</c:v>
                </c:pt>
                <c:pt idx="103">
                  <c:v>12.03</c:v>
                </c:pt>
                <c:pt idx="123">
                  <c:v>16.149999999999999</c:v>
                </c:pt>
                <c:pt idx="133">
                  <c:v>15.68</c:v>
                </c:pt>
                <c:pt idx="141">
                  <c:v>13.57</c:v>
                </c:pt>
                <c:pt idx="144">
                  <c:v>12.67</c:v>
                </c:pt>
                <c:pt idx="150">
                  <c:v>14.6</c:v>
                </c:pt>
                <c:pt idx="156">
                  <c:v>11.54</c:v>
                </c:pt>
                <c:pt idx="166">
                  <c:v>12.06</c:v>
                </c:pt>
                <c:pt idx="175">
                  <c:v>14.52</c:v>
                </c:pt>
                <c:pt idx="177">
                  <c:v>14.69</c:v>
                </c:pt>
                <c:pt idx="191">
                  <c:v>12.74</c:v>
                </c:pt>
                <c:pt idx="194" formatCode="#,##0.00">
                  <c:v>10.93</c:v>
                </c:pt>
                <c:pt idx="196" formatCode="#,##0.00">
                  <c:v>9.91</c:v>
                </c:pt>
                <c:pt idx="197" formatCode="#,##0.00">
                  <c:v>9.91</c:v>
                </c:pt>
                <c:pt idx="214" formatCode="#,##0.00">
                  <c:v>12</c:v>
                </c:pt>
                <c:pt idx="220" formatCode="#,##0.00">
                  <c:v>15.22</c:v>
                </c:pt>
                <c:pt idx="222" formatCode="#,##0.00">
                  <c:v>19.079999999999998</c:v>
                </c:pt>
                <c:pt idx="223" formatCode="#,##0.00">
                  <c:v>12.9</c:v>
                </c:pt>
                <c:pt idx="228" formatCode="#,##0.00">
                  <c:v>10.199999999999999</c:v>
                </c:pt>
                <c:pt idx="240" formatCode="#,##0.00">
                  <c:v>11.46</c:v>
                </c:pt>
                <c:pt idx="247" formatCode="#,##0.00">
                  <c:v>13.85</c:v>
                </c:pt>
                <c:pt idx="266" formatCode="#,##0.00">
                  <c:v>14.05</c:v>
                </c:pt>
                <c:pt idx="280" formatCode="#,##0.00">
                  <c:v>16.16</c:v>
                </c:pt>
                <c:pt idx="292" formatCode="#,##0.00">
                  <c:v>11.02</c:v>
                </c:pt>
                <c:pt idx="295" formatCode="#,##0.00">
                  <c:v>14.9</c:v>
                </c:pt>
                <c:pt idx="300" formatCode="#,##0.00">
                  <c:v>12.59</c:v>
                </c:pt>
                <c:pt idx="306" formatCode="#,##0.00">
                  <c:v>15.39</c:v>
                </c:pt>
                <c:pt idx="308" formatCode="#,##0.00">
                  <c:v>10.77</c:v>
                </c:pt>
                <c:pt idx="312" formatCode="#,##0.00">
                  <c:v>12.75</c:v>
                </c:pt>
                <c:pt idx="314" formatCode="#,##0.00">
                  <c:v>17.010000000000002</c:v>
                </c:pt>
                <c:pt idx="317" formatCode="#,##0.00">
                  <c:v>12.41</c:v>
                </c:pt>
                <c:pt idx="324" formatCode="#,##0.00">
                  <c:v>15.91</c:v>
                </c:pt>
                <c:pt idx="347" formatCode="#,##0.00">
                  <c:v>24.04</c:v>
                </c:pt>
                <c:pt idx="349" formatCode="#,##0.00">
                  <c:v>17.07</c:v>
                </c:pt>
                <c:pt idx="350" formatCode="#,##0.00">
                  <c:v>18.510000000000002</c:v>
                </c:pt>
                <c:pt idx="378" formatCode="#,##0.00">
                  <c:v>24</c:v>
                </c:pt>
                <c:pt idx="390" formatCode="#,##0.00">
                  <c:v>31.11</c:v>
                </c:pt>
                <c:pt idx="395" formatCode="#,##0.00">
                  <c:v>21.37</c:v>
                </c:pt>
                <c:pt idx="401" formatCode="#,##0.00">
                  <c:v>24.86</c:v>
                </c:pt>
                <c:pt idx="412" formatCode="#,##0.00">
                  <c:v>20.47</c:v>
                </c:pt>
                <c:pt idx="430" formatCode="#,##0.00">
                  <c:v>27.93</c:v>
                </c:pt>
                <c:pt idx="442" formatCode="#,##0.00">
                  <c:v>27.45</c:v>
                </c:pt>
                <c:pt idx="443" formatCode="#,##0.00">
                  <c:v>26.51</c:v>
                </c:pt>
                <c:pt idx="450" formatCode="#,##0.00">
                  <c:v>16.059999999999999</c:v>
                </c:pt>
                <c:pt idx="457" formatCode="#,##0.00">
                  <c:v>23.81</c:v>
                </c:pt>
                <c:pt idx="460" formatCode="#,##0.00">
                  <c:v>23.78</c:v>
                </c:pt>
                <c:pt idx="463" formatCode="#,##0.00">
                  <c:v>23.23</c:v>
                </c:pt>
                <c:pt idx="464" formatCode="#,##0.00">
                  <c:v>30.73</c:v>
                </c:pt>
                <c:pt idx="482" formatCode="General">
                  <c:v>22.65</c:v>
                </c:pt>
                <c:pt idx="499" formatCode="General">
                  <c:v>22.41</c:v>
                </c:pt>
                <c:pt idx="509" formatCode="General">
                  <c:v>23</c:v>
                </c:pt>
                <c:pt idx="555" formatCode="General">
                  <c:v>23.84</c:v>
                </c:pt>
                <c:pt idx="588" formatCode="General">
                  <c:v>25.33</c:v>
                </c:pt>
                <c:pt idx="591" formatCode="General">
                  <c:v>30.25</c:v>
                </c:pt>
                <c:pt idx="603" formatCode="General">
                  <c:v>28.83</c:v>
                </c:pt>
                <c:pt idx="614" formatCode="General">
                  <c:v>23.15</c:v>
                </c:pt>
                <c:pt idx="615" formatCode="General">
                  <c:v>29.14</c:v>
                </c:pt>
                <c:pt idx="627">
                  <c:v>35.5</c:v>
                </c:pt>
                <c:pt idx="628">
                  <c:v>26.02</c:v>
                </c:pt>
                <c:pt idx="633">
                  <c:v>25.63</c:v>
                </c:pt>
                <c:pt idx="638">
                  <c:v>27.49</c:v>
                </c:pt>
                <c:pt idx="641" formatCode="General">
                  <c:v>27.09</c:v>
                </c:pt>
                <c:pt idx="648" formatCode="General">
                  <c:v>28.16</c:v>
                </c:pt>
                <c:pt idx="651" formatCode="General">
                  <c:v>29.15</c:v>
                </c:pt>
                <c:pt idx="655" formatCode="General">
                  <c:v>24.4</c:v>
                </c:pt>
                <c:pt idx="669" formatCode="General">
                  <c:v>25.39</c:v>
                </c:pt>
                <c:pt idx="673" formatCode="General">
                  <c:v>25.27</c:v>
                </c:pt>
                <c:pt idx="683" formatCode="General">
                  <c:v>24</c:v>
                </c:pt>
                <c:pt idx="703" formatCode="General">
                  <c:v>18.87</c:v>
                </c:pt>
                <c:pt idx="709" formatCode="General">
                  <c:v>25.11</c:v>
                </c:pt>
                <c:pt idx="711" formatCode="General">
                  <c:v>25.07</c:v>
                </c:pt>
                <c:pt idx="724" formatCode="General">
                  <c:v>22.22</c:v>
                </c:pt>
                <c:pt idx="738" formatCode="General">
                  <c:v>26.44</c:v>
                </c:pt>
                <c:pt idx="740" formatCode="General">
                  <c:v>25.89</c:v>
                </c:pt>
                <c:pt idx="766" formatCode="General">
                  <c:v>24.69</c:v>
                </c:pt>
                <c:pt idx="795" formatCode="General">
                  <c:v>29.17</c:v>
                </c:pt>
                <c:pt idx="797" formatCode="General">
                  <c:v>35.29</c:v>
                </c:pt>
                <c:pt idx="800" formatCode="General">
                  <c:v>36.29</c:v>
                </c:pt>
                <c:pt idx="801" formatCode="General">
                  <c:v>29.41</c:v>
                </c:pt>
              </c:numCache>
            </c:numRef>
          </c:val>
          <c:smooth val="0"/>
          <c:extLst>
            <c:ext xmlns:c16="http://schemas.microsoft.com/office/drawing/2014/chart" uri="{C3380CC4-5D6E-409C-BE32-E72D297353CC}">
              <c16:uniqueId val="{00000000-B2E9-4C3B-9455-C3D714267C5B}"/>
            </c:ext>
          </c:extLst>
        </c:ser>
        <c:dLbls>
          <c:showLegendKey val="0"/>
          <c:showVal val="0"/>
          <c:showCatName val="0"/>
          <c:showSerName val="0"/>
          <c:showPercent val="0"/>
          <c:showBubbleSize val="0"/>
        </c:dLbls>
        <c:smooth val="0"/>
        <c:axId val="1222321759"/>
        <c:axId val="1"/>
      </c:lineChart>
      <c:catAx>
        <c:axId val="1222321759"/>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2321759"/>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Heifers 200-250kg</a:t>
            </a:r>
          </a:p>
        </c:rich>
      </c:tx>
      <c:overlay val="0"/>
    </c:title>
    <c:autoTitleDeleted val="0"/>
    <c:plotArea>
      <c:layout/>
      <c:lineChart>
        <c:grouping val="standard"/>
        <c:varyColors val="0"/>
        <c:ser>
          <c:idx val="6"/>
          <c:order val="0"/>
          <c:tx>
            <c:strRef>
              <c:f>Summary!$I$3</c:f>
              <c:strCache>
                <c:ptCount val="1"/>
                <c:pt idx="0">
                  <c:v>Heifers 200-250kg</c:v>
                </c:pt>
              </c:strCache>
            </c:strRef>
          </c:tx>
          <c:spPr>
            <a:ln w="12700">
              <a:solidFill>
                <a:schemeClr val="tx1"/>
              </a:solidFill>
            </a:ln>
          </c:spPr>
          <c:marker>
            <c:symbol val="none"/>
          </c:marker>
          <c:cat>
            <c:numRef>
              <c:f>Summary!$B$392:$B$813</c:f>
              <c:numCache>
                <c:formatCode>General</c:formatCode>
                <c:ptCount val="422"/>
                <c:pt idx="0">
                  <c:v>2018</c:v>
                </c:pt>
                <c:pt idx="50">
                  <c:v>2019</c:v>
                </c:pt>
                <c:pt idx="100">
                  <c:v>2020</c:v>
                </c:pt>
                <c:pt idx="148">
                  <c:v>2021</c:v>
                </c:pt>
                <c:pt idx="196">
                  <c:v>2022</c:v>
                </c:pt>
                <c:pt idx="246">
                  <c:v>2023</c:v>
                </c:pt>
                <c:pt idx="296">
                  <c:v>2024</c:v>
                </c:pt>
                <c:pt idx="346">
                  <c:v>2025</c:v>
                </c:pt>
                <c:pt idx="393">
                  <c:v>2026</c:v>
                </c:pt>
              </c:numCache>
            </c:numRef>
          </c:cat>
          <c:val>
            <c:numRef>
              <c:f>Summary!$I$392:$I$810</c:f>
              <c:numCache>
                <c:formatCode>#,##0.00</c:formatCode>
                <c:ptCount val="419"/>
                <c:pt idx="26">
                  <c:v>32.869999999999997</c:v>
                </c:pt>
                <c:pt idx="27">
                  <c:v>31.71</c:v>
                </c:pt>
                <c:pt idx="28">
                  <c:v>34.69</c:v>
                </c:pt>
                <c:pt idx="29">
                  <c:v>32.97</c:v>
                </c:pt>
                <c:pt idx="30">
                  <c:v>33.200000000000003</c:v>
                </c:pt>
                <c:pt idx="31">
                  <c:v>35.01</c:v>
                </c:pt>
                <c:pt idx="32">
                  <c:v>35.86</c:v>
                </c:pt>
                <c:pt idx="33">
                  <c:v>34.450000000000003</c:v>
                </c:pt>
                <c:pt idx="34">
                  <c:v>34.5</c:v>
                </c:pt>
                <c:pt idx="35">
                  <c:v>34.25</c:v>
                </c:pt>
                <c:pt idx="36">
                  <c:v>34.08</c:v>
                </c:pt>
                <c:pt idx="37">
                  <c:v>33.94</c:v>
                </c:pt>
                <c:pt idx="38">
                  <c:v>35.520000000000003</c:v>
                </c:pt>
                <c:pt idx="39">
                  <c:v>32.979999999999997</c:v>
                </c:pt>
                <c:pt idx="40">
                  <c:v>33.049999999999997</c:v>
                </c:pt>
                <c:pt idx="41">
                  <c:v>25.6</c:v>
                </c:pt>
                <c:pt idx="42">
                  <c:v>31.79</c:v>
                </c:pt>
                <c:pt idx="43">
                  <c:v>31.59</c:v>
                </c:pt>
                <c:pt idx="44">
                  <c:v>33.46</c:v>
                </c:pt>
                <c:pt idx="45">
                  <c:v>32.46</c:v>
                </c:pt>
                <c:pt idx="46">
                  <c:v>33.299999999999997</c:v>
                </c:pt>
                <c:pt idx="47">
                  <c:v>31.92</c:v>
                </c:pt>
                <c:pt idx="48">
                  <c:v>34.04</c:v>
                </c:pt>
                <c:pt idx="49">
                  <c:v>35.01</c:v>
                </c:pt>
                <c:pt idx="51">
                  <c:v>30.68</c:v>
                </c:pt>
                <c:pt idx="52">
                  <c:v>29.73</c:v>
                </c:pt>
                <c:pt idx="53">
                  <c:v>27.19</c:v>
                </c:pt>
                <c:pt idx="54">
                  <c:v>28.64</c:v>
                </c:pt>
                <c:pt idx="55">
                  <c:v>31.51</c:v>
                </c:pt>
                <c:pt idx="56">
                  <c:v>32.07</c:v>
                </c:pt>
                <c:pt idx="57">
                  <c:v>31.42</c:v>
                </c:pt>
                <c:pt idx="58">
                  <c:v>30.69</c:v>
                </c:pt>
                <c:pt idx="59">
                  <c:v>29.55</c:v>
                </c:pt>
                <c:pt idx="60">
                  <c:v>28.64</c:v>
                </c:pt>
                <c:pt idx="61">
                  <c:v>26.84</c:v>
                </c:pt>
                <c:pt idx="62">
                  <c:v>29.36</c:v>
                </c:pt>
                <c:pt idx="63">
                  <c:v>26.95</c:v>
                </c:pt>
                <c:pt idx="64">
                  <c:v>27.98</c:v>
                </c:pt>
                <c:pt idx="65">
                  <c:v>26.84</c:v>
                </c:pt>
                <c:pt idx="66">
                  <c:v>37.14</c:v>
                </c:pt>
                <c:pt idx="67">
                  <c:v>27.25</c:v>
                </c:pt>
                <c:pt idx="68">
                  <c:v>29.32</c:v>
                </c:pt>
                <c:pt idx="69">
                  <c:v>27.75</c:v>
                </c:pt>
                <c:pt idx="70">
                  <c:v>27.39</c:v>
                </c:pt>
                <c:pt idx="71">
                  <c:v>26.94</c:v>
                </c:pt>
                <c:pt idx="72">
                  <c:v>26.64</c:v>
                </c:pt>
                <c:pt idx="73">
                  <c:v>26.7</c:v>
                </c:pt>
                <c:pt idx="74">
                  <c:v>27.86</c:v>
                </c:pt>
                <c:pt idx="75">
                  <c:v>27.05</c:v>
                </c:pt>
                <c:pt idx="76">
                  <c:v>27.44</c:v>
                </c:pt>
                <c:pt idx="77">
                  <c:v>28.58</c:v>
                </c:pt>
                <c:pt idx="78">
                  <c:v>28.42</c:v>
                </c:pt>
                <c:pt idx="79">
                  <c:v>27.09</c:v>
                </c:pt>
                <c:pt idx="80" formatCode="General">
                  <c:v>28.09</c:v>
                </c:pt>
                <c:pt idx="81" formatCode="General">
                  <c:v>28.23</c:v>
                </c:pt>
                <c:pt idx="82" formatCode="General">
                  <c:v>28.8</c:v>
                </c:pt>
                <c:pt idx="83" formatCode="General">
                  <c:v>28.17</c:v>
                </c:pt>
                <c:pt idx="84" formatCode="General">
                  <c:v>29.74</c:v>
                </c:pt>
                <c:pt idx="85" formatCode="General">
                  <c:v>28.08</c:v>
                </c:pt>
                <c:pt idx="86" formatCode="General">
                  <c:v>29.22</c:v>
                </c:pt>
                <c:pt idx="87" formatCode="General">
                  <c:v>28.39</c:v>
                </c:pt>
                <c:pt idx="88" formatCode="General">
                  <c:v>28.03</c:v>
                </c:pt>
                <c:pt idx="89" formatCode="General">
                  <c:v>27.71</c:v>
                </c:pt>
                <c:pt idx="90" formatCode="General">
                  <c:v>28.97</c:v>
                </c:pt>
                <c:pt idx="91" formatCode="General">
                  <c:v>28.41</c:v>
                </c:pt>
                <c:pt idx="92" formatCode="General">
                  <c:v>28.13</c:v>
                </c:pt>
                <c:pt idx="93" formatCode="General">
                  <c:v>27.31</c:v>
                </c:pt>
                <c:pt idx="94" formatCode="General">
                  <c:v>27.59</c:v>
                </c:pt>
                <c:pt idx="95" formatCode="General">
                  <c:v>28.26</c:v>
                </c:pt>
                <c:pt idx="107" formatCode="General">
                  <c:v>31.08</c:v>
                </c:pt>
                <c:pt idx="108" formatCode="General">
                  <c:v>30.09</c:v>
                </c:pt>
                <c:pt idx="109" formatCode="General">
                  <c:v>31.62</c:v>
                </c:pt>
                <c:pt idx="110" formatCode="General">
                  <c:v>25.03</c:v>
                </c:pt>
                <c:pt idx="111" formatCode="General">
                  <c:v>30.16</c:v>
                </c:pt>
                <c:pt idx="112" formatCode="General">
                  <c:v>26.85</c:v>
                </c:pt>
                <c:pt idx="113" formatCode="General">
                  <c:v>28.44</c:v>
                </c:pt>
                <c:pt idx="114" formatCode="General">
                  <c:v>28.1</c:v>
                </c:pt>
                <c:pt idx="115" formatCode="General">
                  <c:v>27.84</c:v>
                </c:pt>
                <c:pt idx="116" formatCode="General">
                  <c:v>23.61</c:v>
                </c:pt>
                <c:pt idx="117" formatCode="General">
                  <c:v>28.34</c:v>
                </c:pt>
                <c:pt idx="118" formatCode="General">
                  <c:v>29.61</c:v>
                </c:pt>
                <c:pt idx="119" formatCode="General">
                  <c:v>28.83</c:v>
                </c:pt>
                <c:pt idx="120" formatCode="General">
                  <c:v>27.55</c:v>
                </c:pt>
                <c:pt idx="121" formatCode="General">
                  <c:v>28.15</c:v>
                </c:pt>
                <c:pt idx="122" formatCode="General">
                  <c:v>28.23</c:v>
                </c:pt>
                <c:pt idx="123" formatCode="General">
                  <c:v>28.32</c:v>
                </c:pt>
                <c:pt idx="124" formatCode="General">
                  <c:v>29.41</c:v>
                </c:pt>
                <c:pt idx="125" formatCode="General">
                  <c:v>29.37</c:v>
                </c:pt>
                <c:pt idx="126" formatCode="General">
                  <c:v>30.05</c:v>
                </c:pt>
                <c:pt idx="127" formatCode="General">
                  <c:v>32.119999999999997</c:v>
                </c:pt>
                <c:pt idx="128" formatCode="General">
                  <c:v>30.59</c:v>
                </c:pt>
                <c:pt idx="129" formatCode="General">
                  <c:v>28.94</c:v>
                </c:pt>
                <c:pt idx="130" formatCode="General">
                  <c:v>30.43</c:v>
                </c:pt>
                <c:pt idx="131" formatCode="General">
                  <c:v>33.32</c:v>
                </c:pt>
                <c:pt idx="132" formatCode="General">
                  <c:v>30.99</c:v>
                </c:pt>
                <c:pt idx="133" formatCode="General">
                  <c:v>31.4</c:v>
                </c:pt>
                <c:pt idx="134" formatCode="General">
                  <c:v>34.31</c:v>
                </c:pt>
                <c:pt idx="135" formatCode="General">
                  <c:v>31.88</c:v>
                </c:pt>
                <c:pt idx="136" formatCode="General">
                  <c:v>33.549999999999997</c:v>
                </c:pt>
                <c:pt idx="137" formatCode="General">
                  <c:v>32.22</c:v>
                </c:pt>
                <c:pt idx="138" formatCode="General">
                  <c:v>34.4</c:v>
                </c:pt>
                <c:pt idx="139" formatCode="General">
                  <c:v>33.619999999999997</c:v>
                </c:pt>
                <c:pt idx="140" formatCode="General">
                  <c:v>33.17</c:v>
                </c:pt>
                <c:pt idx="141" formatCode="General">
                  <c:v>37.380000000000003</c:v>
                </c:pt>
                <c:pt idx="142" formatCode="General">
                  <c:v>35.44</c:v>
                </c:pt>
                <c:pt idx="143" formatCode="General">
                  <c:v>35.9</c:v>
                </c:pt>
                <c:pt idx="144" formatCode="General">
                  <c:v>33.22</c:v>
                </c:pt>
                <c:pt idx="145" formatCode="General">
                  <c:v>36.46</c:v>
                </c:pt>
                <c:pt idx="146" formatCode="General">
                  <c:v>36.729999999999997</c:v>
                </c:pt>
                <c:pt idx="147" formatCode="General">
                  <c:v>36.76</c:v>
                </c:pt>
                <c:pt idx="148" formatCode="General">
                  <c:v>35.340000000000003</c:v>
                </c:pt>
                <c:pt idx="149" formatCode="General">
                  <c:v>39.200000000000003</c:v>
                </c:pt>
                <c:pt idx="150" formatCode="General">
                  <c:v>39.08</c:v>
                </c:pt>
                <c:pt idx="151" formatCode="General">
                  <c:v>40.39</c:v>
                </c:pt>
                <c:pt idx="152" formatCode="General">
                  <c:v>37.46</c:v>
                </c:pt>
                <c:pt idx="153" formatCode="General">
                  <c:v>38.99</c:v>
                </c:pt>
                <c:pt idx="154" formatCode="General">
                  <c:v>40.340000000000003</c:v>
                </c:pt>
                <c:pt idx="155" formatCode="General">
                  <c:v>39.46</c:v>
                </c:pt>
                <c:pt idx="156" formatCode="General">
                  <c:v>36.520000000000003</c:v>
                </c:pt>
                <c:pt idx="157" formatCode="General">
                  <c:v>36.46</c:v>
                </c:pt>
                <c:pt idx="158" formatCode="General">
                  <c:v>35.520000000000003</c:v>
                </c:pt>
                <c:pt idx="159" formatCode="General">
                  <c:v>35.24</c:v>
                </c:pt>
                <c:pt idx="160" formatCode="General">
                  <c:v>36.04</c:v>
                </c:pt>
                <c:pt idx="161" formatCode="General">
                  <c:v>36.229999999999997</c:v>
                </c:pt>
                <c:pt idx="162" formatCode="General">
                  <c:v>36.33</c:v>
                </c:pt>
                <c:pt idx="163" formatCode="General">
                  <c:v>36.799999999999997</c:v>
                </c:pt>
                <c:pt idx="164" formatCode="General">
                  <c:v>37.36</c:v>
                </c:pt>
                <c:pt idx="165" formatCode="General">
                  <c:v>34.880000000000003</c:v>
                </c:pt>
                <c:pt idx="166">
                  <c:v>38.35</c:v>
                </c:pt>
                <c:pt idx="167">
                  <c:v>37.14</c:v>
                </c:pt>
                <c:pt idx="168">
                  <c:v>38.36</c:v>
                </c:pt>
                <c:pt idx="169">
                  <c:v>39.24</c:v>
                </c:pt>
                <c:pt idx="170">
                  <c:v>37.08</c:v>
                </c:pt>
                <c:pt idx="171">
                  <c:v>39.06</c:v>
                </c:pt>
                <c:pt idx="172">
                  <c:v>37.64</c:v>
                </c:pt>
                <c:pt idx="175">
                  <c:v>33.76</c:v>
                </c:pt>
                <c:pt idx="176">
                  <c:v>45.51</c:v>
                </c:pt>
                <c:pt idx="177">
                  <c:v>37.76</c:v>
                </c:pt>
                <c:pt idx="178">
                  <c:v>40.21</c:v>
                </c:pt>
                <c:pt idx="179">
                  <c:v>37.479999999999997</c:v>
                </c:pt>
                <c:pt idx="180">
                  <c:v>40.67</c:v>
                </c:pt>
                <c:pt idx="181">
                  <c:v>39.39</c:v>
                </c:pt>
                <c:pt idx="182">
                  <c:v>37.4</c:v>
                </c:pt>
                <c:pt idx="183">
                  <c:v>40.04</c:v>
                </c:pt>
                <c:pt idx="184">
                  <c:v>39.4</c:v>
                </c:pt>
                <c:pt idx="185">
                  <c:v>37.97</c:v>
                </c:pt>
                <c:pt idx="186">
                  <c:v>38.9</c:v>
                </c:pt>
                <c:pt idx="187">
                  <c:v>39.81</c:v>
                </c:pt>
                <c:pt idx="188">
                  <c:v>50.11</c:v>
                </c:pt>
                <c:pt idx="189">
                  <c:v>46.95</c:v>
                </c:pt>
                <c:pt idx="190">
                  <c:v>40.69</c:v>
                </c:pt>
                <c:pt idx="191">
                  <c:v>45.73</c:v>
                </c:pt>
                <c:pt idx="192">
                  <c:v>40.909999999999997</c:v>
                </c:pt>
                <c:pt idx="193">
                  <c:v>39.9</c:v>
                </c:pt>
                <c:pt idx="194">
                  <c:v>40.68</c:v>
                </c:pt>
                <c:pt idx="195" formatCode="General">
                  <c:v>41.37</c:v>
                </c:pt>
                <c:pt idx="196" formatCode="General">
                  <c:v>38.78</c:v>
                </c:pt>
                <c:pt idx="197" formatCode="General">
                  <c:v>39.409999999999997</c:v>
                </c:pt>
                <c:pt idx="198" formatCode="General">
                  <c:v>41.03</c:v>
                </c:pt>
                <c:pt idx="199" formatCode="General">
                  <c:v>41.27</c:v>
                </c:pt>
                <c:pt idx="200" formatCode="General">
                  <c:v>41.28</c:v>
                </c:pt>
                <c:pt idx="201" formatCode="General">
                  <c:v>40.19</c:v>
                </c:pt>
                <c:pt idx="202" formatCode="General">
                  <c:v>40.98</c:v>
                </c:pt>
                <c:pt idx="203" formatCode="General">
                  <c:v>41.47</c:v>
                </c:pt>
                <c:pt idx="204" formatCode="General">
                  <c:v>38.24</c:v>
                </c:pt>
                <c:pt idx="205" formatCode="General">
                  <c:v>36.450000000000003</c:v>
                </c:pt>
                <c:pt idx="206" formatCode="General">
                  <c:v>38.840000000000003</c:v>
                </c:pt>
                <c:pt idx="207" formatCode="General">
                  <c:v>37.880000000000003</c:v>
                </c:pt>
                <c:pt idx="208" formatCode="General">
                  <c:v>38.340000000000003</c:v>
                </c:pt>
                <c:pt idx="209" formatCode="General">
                  <c:v>36.979999999999997</c:v>
                </c:pt>
                <c:pt idx="210" formatCode="General">
                  <c:v>34.479999999999997</c:v>
                </c:pt>
                <c:pt idx="211" formatCode="General">
                  <c:v>37.69</c:v>
                </c:pt>
                <c:pt idx="212" formatCode="General">
                  <c:v>25.23</c:v>
                </c:pt>
                <c:pt idx="213" formatCode="General">
                  <c:v>37.659999999999997</c:v>
                </c:pt>
                <c:pt idx="214" formatCode="General">
                  <c:v>37.229999999999997</c:v>
                </c:pt>
                <c:pt idx="215" formatCode="General">
                  <c:v>36.869999999999997</c:v>
                </c:pt>
                <c:pt idx="216" formatCode="General">
                  <c:v>36.49</c:v>
                </c:pt>
                <c:pt idx="217" formatCode="General">
                  <c:v>38.47</c:v>
                </c:pt>
                <c:pt idx="218" formatCode="General">
                  <c:v>36.32</c:v>
                </c:pt>
                <c:pt idx="219" formatCode="General">
                  <c:v>35.94</c:v>
                </c:pt>
                <c:pt idx="220" formatCode="General">
                  <c:v>35.18</c:v>
                </c:pt>
                <c:pt idx="221" formatCode="General">
                  <c:v>38.979999999999997</c:v>
                </c:pt>
                <c:pt idx="222" formatCode="General">
                  <c:v>39.44</c:v>
                </c:pt>
                <c:pt idx="223" formatCode="General">
                  <c:v>39.869999999999997</c:v>
                </c:pt>
                <c:pt idx="224" formatCode="General">
                  <c:v>41.78</c:v>
                </c:pt>
                <c:pt idx="225" formatCode="General">
                  <c:v>37.700000000000003</c:v>
                </c:pt>
                <c:pt idx="226" formatCode="General">
                  <c:v>37.04</c:v>
                </c:pt>
                <c:pt idx="227" formatCode="General">
                  <c:v>37.200000000000003</c:v>
                </c:pt>
                <c:pt idx="232" formatCode="General">
                  <c:v>40.42</c:v>
                </c:pt>
                <c:pt idx="233" formatCode="General">
                  <c:v>39.18</c:v>
                </c:pt>
                <c:pt idx="234" formatCode="General">
                  <c:v>37.47</c:v>
                </c:pt>
                <c:pt idx="235" formatCode="General">
                  <c:v>38.69</c:v>
                </c:pt>
                <c:pt idx="236" formatCode="General">
                  <c:v>38</c:v>
                </c:pt>
                <c:pt idx="237" formatCode="General">
                  <c:v>38.49</c:v>
                </c:pt>
                <c:pt idx="238" formatCode="General">
                  <c:v>38.950000000000003</c:v>
                </c:pt>
                <c:pt idx="239" formatCode="General">
                  <c:v>42.25</c:v>
                </c:pt>
                <c:pt idx="240" formatCode="General">
                  <c:v>37.14</c:v>
                </c:pt>
                <c:pt idx="241" formatCode="General">
                  <c:v>37.35</c:v>
                </c:pt>
                <c:pt idx="242" formatCode="General">
                  <c:v>37.24</c:v>
                </c:pt>
                <c:pt idx="243" formatCode="General">
                  <c:v>37.82</c:v>
                </c:pt>
                <c:pt idx="244" formatCode="General">
                  <c:v>34.17</c:v>
                </c:pt>
                <c:pt idx="245" formatCode="General">
                  <c:v>37.14</c:v>
                </c:pt>
                <c:pt idx="246" formatCode="General">
                  <c:v>38.17</c:v>
                </c:pt>
                <c:pt idx="247" formatCode="General">
                  <c:v>36.799999999999997</c:v>
                </c:pt>
                <c:pt idx="248" formatCode="General">
                  <c:v>35.68</c:v>
                </c:pt>
                <c:pt idx="249" formatCode="General">
                  <c:v>36.6</c:v>
                </c:pt>
                <c:pt idx="250" formatCode="General">
                  <c:v>35.51</c:v>
                </c:pt>
                <c:pt idx="251" formatCode="General">
                  <c:v>34.17</c:v>
                </c:pt>
                <c:pt idx="252" formatCode="General">
                  <c:v>37.369999999999997</c:v>
                </c:pt>
                <c:pt idx="253" formatCode="General">
                  <c:v>33.799999999999997</c:v>
                </c:pt>
                <c:pt idx="254" formatCode="General">
                  <c:v>33.700000000000003</c:v>
                </c:pt>
                <c:pt idx="255" formatCode="General">
                  <c:v>37.229999999999997</c:v>
                </c:pt>
                <c:pt idx="256" formatCode="General">
                  <c:v>34.159999999999997</c:v>
                </c:pt>
                <c:pt idx="257" formatCode="General">
                  <c:v>34.729999999999997</c:v>
                </c:pt>
                <c:pt idx="258" formatCode="General">
                  <c:v>34.68</c:v>
                </c:pt>
                <c:pt idx="259" formatCode="General">
                  <c:v>35.479999999999997</c:v>
                </c:pt>
                <c:pt idx="260" formatCode="General">
                  <c:v>34.450000000000003</c:v>
                </c:pt>
                <c:pt idx="261" formatCode="General">
                  <c:v>31.91</c:v>
                </c:pt>
                <c:pt idx="262" formatCode="General">
                  <c:v>29.8</c:v>
                </c:pt>
                <c:pt idx="263" formatCode="General">
                  <c:v>30.32</c:v>
                </c:pt>
                <c:pt idx="264" formatCode="General">
                  <c:v>31.88</c:v>
                </c:pt>
                <c:pt idx="265" formatCode="General">
                  <c:v>30.08</c:v>
                </c:pt>
                <c:pt idx="266" formatCode="General">
                  <c:v>27.9</c:v>
                </c:pt>
                <c:pt idx="267" formatCode="General">
                  <c:v>33.17</c:v>
                </c:pt>
                <c:pt idx="268" formatCode="General">
                  <c:v>29.04</c:v>
                </c:pt>
                <c:pt idx="269" formatCode="General">
                  <c:v>29.65</c:v>
                </c:pt>
                <c:pt idx="270" formatCode="General">
                  <c:v>31.72</c:v>
                </c:pt>
                <c:pt idx="271" formatCode="General">
                  <c:v>31.36</c:v>
                </c:pt>
                <c:pt idx="272" formatCode="General">
                  <c:v>32.11</c:v>
                </c:pt>
                <c:pt idx="273" formatCode="General">
                  <c:v>33.76</c:v>
                </c:pt>
                <c:pt idx="274" formatCode="General">
                  <c:v>35.729999999999997</c:v>
                </c:pt>
                <c:pt idx="275" formatCode="General">
                  <c:v>34.15</c:v>
                </c:pt>
                <c:pt idx="276" formatCode="General">
                  <c:v>34.090000000000003</c:v>
                </c:pt>
                <c:pt idx="277" formatCode="General">
                  <c:v>33.97</c:v>
                </c:pt>
                <c:pt idx="278" formatCode="General">
                  <c:v>34.51</c:v>
                </c:pt>
                <c:pt idx="279" formatCode="General">
                  <c:v>31.6</c:v>
                </c:pt>
                <c:pt idx="280" formatCode="General">
                  <c:v>32.25</c:v>
                </c:pt>
                <c:pt idx="281" formatCode="General">
                  <c:v>31.56</c:v>
                </c:pt>
                <c:pt idx="282" formatCode="General">
                  <c:v>32.82</c:v>
                </c:pt>
                <c:pt idx="283" formatCode="General">
                  <c:v>32.42</c:v>
                </c:pt>
                <c:pt idx="284" formatCode="General">
                  <c:v>33.869999999999997</c:v>
                </c:pt>
                <c:pt idx="285" formatCode="General">
                  <c:v>32.69</c:v>
                </c:pt>
                <c:pt idx="286" formatCode="General">
                  <c:v>31.39</c:v>
                </c:pt>
                <c:pt idx="287" formatCode="General">
                  <c:v>32.01</c:v>
                </c:pt>
                <c:pt idx="288" formatCode="General">
                  <c:v>34.31</c:v>
                </c:pt>
                <c:pt idx="289" formatCode="General">
                  <c:v>31.78</c:v>
                </c:pt>
                <c:pt idx="290" formatCode="General">
                  <c:v>32.17</c:v>
                </c:pt>
                <c:pt idx="291" formatCode="General">
                  <c:v>32.68</c:v>
                </c:pt>
                <c:pt idx="292" formatCode="General">
                  <c:v>34.729999999999997</c:v>
                </c:pt>
                <c:pt idx="293" formatCode="General">
                  <c:v>33.43</c:v>
                </c:pt>
                <c:pt idx="294" formatCode="General">
                  <c:v>33.53</c:v>
                </c:pt>
                <c:pt idx="295" formatCode="General">
                  <c:v>33.58</c:v>
                </c:pt>
                <c:pt idx="296" formatCode="General">
                  <c:v>34.14</c:v>
                </c:pt>
                <c:pt idx="297" formatCode="General">
                  <c:v>31.53</c:v>
                </c:pt>
                <c:pt idx="298" formatCode="General">
                  <c:v>33.5</c:v>
                </c:pt>
                <c:pt idx="299" formatCode="General">
                  <c:v>34.93</c:v>
                </c:pt>
                <c:pt idx="300" formatCode="General">
                  <c:v>36.57</c:v>
                </c:pt>
                <c:pt idx="301" formatCode="General">
                  <c:v>34.07</c:v>
                </c:pt>
                <c:pt idx="302" formatCode="General">
                  <c:v>34.46</c:v>
                </c:pt>
                <c:pt idx="303" formatCode="General">
                  <c:v>32.409999999999997</c:v>
                </c:pt>
                <c:pt idx="304" formatCode="General">
                  <c:v>33.799999999999997</c:v>
                </c:pt>
                <c:pt idx="305" formatCode="General">
                  <c:v>32.32</c:v>
                </c:pt>
                <c:pt idx="306" formatCode="General">
                  <c:v>29.02</c:v>
                </c:pt>
                <c:pt idx="307" formatCode="General">
                  <c:v>29.31</c:v>
                </c:pt>
                <c:pt idx="308" formatCode="General">
                  <c:v>29.36</c:v>
                </c:pt>
                <c:pt idx="309" formatCode="General">
                  <c:v>27.06</c:v>
                </c:pt>
                <c:pt idx="310" formatCode="General">
                  <c:v>28.72</c:v>
                </c:pt>
                <c:pt idx="311" formatCode="General">
                  <c:v>29.18</c:v>
                </c:pt>
                <c:pt idx="312" formatCode="General">
                  <c:v>30.35</c:v>
                </c:pt>
                <c:pt idx="313" formatCode="General">
                  <c:v>30.33</c:v>
                </c:pt>
                <c:pt idx="314" formatCode="General">
                  <c:v>30.34</c:v>
                </c:pt>
                <c:pt idx="315" formatCode="General">
                  <c:v>29.16</c:v>
                </c:pt>
                <c:pt idx="316" formatCode="General">
                  <c:v>32.549999999999997</c:v>
                </c:pt>
                <c:pt idx="317" formatCode="General">
                  <c:v>29.65</c:v>
                </c:pt>
                <c:pt idx="318" formatCode="General">
                  <c:v>30.92</c:v>
                </c:pt>
                <c:pt idx="319" formatCode="General">
                  <c:v>29.86</c:v>
                </c:pt>
                <c:pt idx="320" formatCode="General">
                  <c:v>30.29</c:v>
                </c:pt>
                <c:pt idx="321" formatCode="General">
                  <c:v>31.14</c:v>
                </c:pt>
                <c:pt idx="322" formatCode="General">
                  <c:v>31.4</c:v>
                </c:pt>
                <c:pt idx="323" formatCode="General">
                  <c:v>31.15</c:v>
                </c:pt>
                <c:pt idx="324" formatCode="General">
                  <c:v>33.01</c:v>
                </c:pt>
                <c:pt idx="325" formatCode="General">
                  <c:v>32.18</c:v>
                </c:pt>
                <c:pt idx="326" formatCode="General">
                  <c:v>30.49</c:v>
                </c:pt>
                <c:pt idx="327" formatCode="General">
                  <c:v>30.42</c:v>
                </c:pt>
                <c:pt idx="328" formatCode="General">
                  <c:v>30.83</c:v>
                </c:pt>
                <c:pt idx="329" formatCode="General">
                  <c:v>29.59</c:v>
                </c:pt>
                <c:pt idx="330" formatCode="General">
                  <c:v>31.13</c:v>
                </c:pt>
                <c:pt idx="331" formatCode="General">
                  <c:v>29.16</c:v>
                </c:pt>
                <c:pt idx="332" formatCode="General">
                  <c:v>29.7</c:v>
                </c:pt>
                <c:pt idx="333" formatCode="General">
                  <c:v>29.13</c:v>
                </c:pt>
                <c:pt idx="334" formatCode="General">
                  <c:v>31.08</c:v>
                </c:pt>
                <c:pt idx="335" formatCode="General">
                  <c:v>29.66</c:v>
                </c:pt>
                <c:pt idx="336" formatCode="General">
                  <c:v>30.38</c:v>
                </c:pt>
                <c:pt idx="337" formatCode="General">
                  <c:v>29.43</c:v>
                </c:pt>
                <c:pt idx="338" formatCode="General">
                  <c:v>31.9</c:v>
                </c:pt>
                <c:pt idx="339" formatCode="General">
                  <c:v>31.69</c:v>
                </c:pt>
                <c:pt idx="340" formatCode="General">
                  <c:v>30.93</c:v>
                </c:pt>
                <c:pt idx="341" formatCode="General">
                  <c:v>32.880000000000003</c:v>
                </c:pt>
                <c:pt idx="342" formatCode="General">
                  <c:v>31.05</c:v>
                </c:pt>
                <c:pt idx="343" formatCode="General">
                  <c:v>32.33</c:v>
                </c:pt>
                <c:pt idx="344" formatCode="General">
                  <c:v>33.24</c:v>
                </c:pt>
                <c:pt idx="345" formatCode="General">
                  <c:v>31.19</c:v>
                </c:pt>
                <c:pt idx="346" formatCode="General">
                  <c:v>32.64</c:v>
                </c:pt>
                <c:pt idx="347" formatCode="General">
                  <c:v>31.54</c:v>
                </c:pt>
                <c:pt idx="348" formatCode="General">
                  <c:v>33.15</c:v>
                </c:pt>
                <c:pt idx="349" formatCode="General">
                  <c:v>34.380000000000003</c:v>
                </c:pt>
                <c:pt idx="350" formatCode="General">
                  <c:v>31.79</c:v>
                </c:pt>
                <c:pt idx="351" formatCode="General">
                  <c:v>31.79</c:v>
                </c:pt>
                <c:pt idx="352" formatCode="General">
                  <c:v>31.84</c:v>
                </c:pt>
                <c:pt idx="353" formatCode="General">
                  <c:v>32.880000000000003</c:v>
                </c:pt>
                <c:pt idx="354" formatCode="General">
                  <c:v>30.24</c:v>
                </c:pt>
                <c:pt idx="355" formatCode="General">
                  <c:v>30.06</c:v>
                </c:pt>
                <c:pt idx="356" formatCode="General">
                  <c:v>29.91</c:v>
                </c:pt>
                <c:pt idx="357" formatCode="General">
                  <c:v>31.44</c:v>
                </c:pt>
                <c:pt idx="358" formatCode="General">
                  <c:v>33.08</c:v>
                </c:pt>
                <c:pt idx="359" formatCode="General">
                  <c:v>32.270000000000003</c:v>
                </c:pt>
                <c:pt idx="360" formatCode="General">
                  <c:v>32.409999999999997</c:v>
                </c:pt>
                <c:pt idx="361" formatCode="General">
                  <c:v>35.299999999999997</c:v>
                </c:pt>
                <c:pt idx="362" formatCode="General">
                  <c:v>34.29</c:v>
                </c:pt>
                <c:pt idx="363" formatCode="General">
                  <c:v>33.04</c:v>
                </c:pt>
                <c:pt idx="364" formatCode="General">
                  <c:v>33.619999999999997</c:v>
                </c:pt>
                <c:pt idx="365" formatCode="General">
                  <c:v>35.39</c:v>
                </c:pt>
                <c:pt idx="366" formatCode="General">
                  <c:v>34.770000000000003</c:v>
                </c:pt>
                <c:pt idx="367" formatCode="General">
                  <c:v>33.659999999999997</c:v>
                </c:pt>
                <c:pt idx="368" formatCode="General">
                  <c:v>34.770000000000003</c:v>
                </c:pt>
                <c:pt idx="369" formatCode="General">
                  <c:v>31.85</c:v>
                </c:pt>
                <c:pt idx="370" formatCode="General">
                  <c:v>34.58</c:v>
                </c:pt>
                <c:pt idx="371" formatCode="General">
                  <c:v>33.28</c:v>
                </c:pt>
                <c:pt idx="372" formatCode="General">
                  <c:v>35.39</c:v>
                </c:pt>
                <c:pt idx="373" formatCode="General">
                  <c:v>34.729999999999997</c:v>
                </c:pt>
                <c:pt idx="374" formatCode="General">
                  <c:v>34.97</c:v>
                </c:pt>
                <c:pt idx="375" formatCode="General">
                  <c:v>34.9</c:v>
                </c:pt>
                <c:pt idx="376" formatCode="General">
                  <c:v>35.47</c:v>
                </c:pt>
                <c:pt idx="377" formatCode="General">
                  <c:v>34.69</c:v>
                </c:pt>
                <c:pt idx="378" formatCode="General">
                  <c:v>35.729999999999997</c:v>
                </c:pt>
                <c:pt idx="379" formatCode="General">
                  <c:v>36.25</c:v>
                </c:pt>
                <c:pt idx="380" formatCode="General">
                  <c:v>36.380000000000003</c:v>
                </c:pt>
                <c:pt idx="381" formatCode="General">
                  <c:v>35.76</c:v>
                </c:pt>
                <c:pt idx="382" formatCode="General">
                  <c:v>34.14</c:v>
                </c:pt>
                <c:pt idx="383" formatCode="General">
                  <c:v>36.93</c:v>
                </c:pt>
                <c:pt idx="384" formatCode="General">
                  <c:v>37.31</c:v>
                </c:pt>
                <c:pt idx="385" formatCode="General">
                  <c:v>36.44</c:v>
                </c:pt>
                <c:pt idx="386" formatCode="General">
                  <c:v>37.83</c:v>
                </c:pt>
                <c:pt idx="387" formatCode="General">
                  <c:v>40.22</c:v>
                </c:pt>
                <c:pt idx="388" formatCode="General">
                  <c:v>40.49</c:v>
                </c:pt>
                <c:pt idx="389" formatCode="General">
                  <c:v>41.16</c:v>
                </c:pt>
                <c:pt idx="390" formatCode="General">
                  <c:v>40.65</c:v>
                </c:pt>
                <c:pt idx="391" formatCode="General">
                  <c:v>41.13</c:v>
                </c:pt>
                <c:pt idx="392" formatCode="General">
                  <c:v>40.950000000000003</c:v>
                </c:pt>
                <c:pt idx="393" formatCode="General">
                  <c:v>38.71</c:v>
                </c:pt>
                <c:pt idx="394" formatCode="General">
                  <c:v>40.4</c:v>
                </c:pt>
                <c:pt idx="395" formatCode="General">
                  <c:v>38.26</c:v>
                </c:pt>
                <c:pt idx="396" formatCode="General">
                  <c:v>37.92</c:v>
                </c:pt>
                <c:pt idx="397" formatCode="General">
                  <c:v>38.58</c:v>
                </c:pt>
                <c:pt idx="398" formatCode="General">
                  <c:v>37.4</c:v>
                </c:pt>
                <c:pt idx="399" formatCode="General">
                  <c:v>37.31</c:v>
                </c:pt>
                <c:pt idx="400" formatCode="General">
                  <c:v>36.42</c:v>
                </c:pt>
                <c:pt idx="401" formatCode="General">
                  <c:v>36.96</c:v>
                </c:pt>
                <c:pt idx="402" formatCode="General">
                  <c:v>36.950000000000003</c:v>
                </c:pt>
                <c:pt idx="403" formatCode="General">
                  <c:v>39.15</c:v>
                </c:pt>
                <c:pt idx="404" formatCode="General">
                  <c:v>41.55</c:v>
                </c:pt>
                <c:pt idx="405" formatCode="General">
                  <c:v>40.200000000000003</c:v>
                </c:pt>
                <c:pt idx="406" formatCode="General">
                  <c:v>37.74</c:v>
                </c:pt>
                <c:pt idx="407" formatCode="General">
                  <c:v>42.32</c:v>
                </c:pt>
                <c:pt idx="408" formatCode="General">
                  <c:v>40.799999999999997</c:v>
                </c:pt>
                <c:pt idx="409" formatCode="General">
                  <c:v>39.42</c:v>
                </c:pt>
                <c:pt idx="410" formatCode="General">
                  <c:v>39.25</c:v>
                </c:pt>
                <c:pt idx="411" formatCode="General">
                  <c:v>41.69</c:v>
                </c:pt>
                <c:pt idx="412" formatCode="General">
                  <c:v>40.47</c:v>
                </c:pt>
                <c:pt idx="413" formatCode="General">
                  <c:v>41.62</c:v>
                </c:pt>
              </c:numCache>
            </c:numRef>
          </c:val>
          <c:smooth val="0"/>
          <c:extLst>
            <c:ext xmlns:c16="http://schemas.microsoft.com/office/drawing/2014/chart" uri="{C3380CC4-5D6E-409C-BE32-E72D297353CC}">
              <c16:uniqueId val="{00000000-F9A0-45F1-AD40-E692599E1FF5}"/>
            </c:ext>
          </c:extLst>
        </c:ser>
        <c:dLbls>
          <c:showLegendKey val="0"/>
          <c:showVal val="0"/>
          <c:showCatName val="0"/>
          <c:showSerName val="0"/>
          <c:showPercent val="0"/>
          <c:showBubbleSize val="0"/>
        </c:dLbls>
        <c:smooth val="0"/>
        <c:axId val="1221616383"/>
        <c:axId val="1"/>
      </c:lineChart>
      <c:catAx>
        <c:axId val="1221616383"/>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1616383"/>
        <c:crosses val="autoZero"/>
        <c:crossBetween val="between"/>
      </c:valAx>
      <c:spPr>
        <a:noFill/>
        <a:ln w="25400">
          <a:noFill/>
        </a:ln>
      </c:spPr>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Heifers&gt;250kg</a:t>
            </a:r>
          </a:p>
        </c:rich>
      </c:tx>
      <c:overlay val="0"/>
    </c:title>
    <c:autoTitleDeleted val="0"/>
    <c:plotArea>
      <c:layout/>
      <c:lineChart>
        <c:grouping val="standard"/>
        <c:varyColors val="0"/>
        <c:ser>
          <c:idx val="6"/>
          <c:order val="0"/>
          <c:tx>
            <c:strRef>
              <c:f>Summary!$J$3</c:f>
              <c:strCache>
                <c:ptCount val="1"/>
                <c:pt idx="0">
                  <c:v>Heifers &gt;250kg</c:v>
                </c:pt>
              </c:strCache>
            </c:strRef>
          </c:tx>
          <c:spPr>
            <a:ln w="12700">
              <a:solidFill>
                <a:schemeClr val="tx1"/>
              </a:solidFill>
            </a:ln>
          </c:spPr>
          <c:marker>
            <c:symbol val="none"/>
          </c:marker>
          <c:cat>
            <c:numRef>
              <c:f>Summary!$B$4:$B$818</c:f>
              <c:numCache>
                <c:formatCode>General</c:formatCode>
                <c:ptCount val="815"/>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J$4:$J$810</c:f>
              <c:numCache>
                <c:formatCode>0.00</c:formatCode>
                <c:ptCount val="807"/>
                <c:pt idx="0">
                  <c:v>14.61</c:v>
                </c:pt>
                <c:pt idx="1">
                  <c:v>10.01</c:v>
                </c:pt>
                <c:pt idx="2">
                  <c:v>13.3</c:v>
                </c:pt>
                <c:pt idx="3">
                  <c:v>14.95</c:v>
                </c:pt>
                <c:pt idx="4">
                  <c:v>13.76</c:v>
                </c:pt>
                <c:pt idx="5">
                  <c:v>13.16</c:v>
                </c:pt>
                <c:pt idx="6">
                  <c:v>12.53</c:v>
                </c:pt>
                <c:pt idx="7">
                  <c:v>12.51</c:v>
                </c:pt>
                <c:pt idx="8">
                  <c:v>13.53</c:v>
                </c:pt>
                <c:pt idx="9">
                  <c:v>13.08</c:v>
                </c:pt>
                <c:pt idx="10">
                  <c:v>12.49</c:v>
                </c:pt>
                <c:pt idx="11">
                  <c:v>12.96</c:v>
                </c:pt>
                <c:pt idx="12">
                  <c:v>13.22</c:v>
                </c:pt>
                <c:pt idx="13">
                  <c:v>14.09</c:v>
                </c:pt>
                <c:pt idx="14">
                  <c:v>13.68</c:v>
                </c:pt>
                <c:pt idx="15">
                  <c:v>12.91</c:v>
                </c:pt>
                <c:pt idx="16">
                  <c:v>13.52</c:v>
                </c:pt>
                <c:pt idx="17">
                  <c:v>13.25</c:v>
                </c:pt>
                <c:pt idx="18">
                  <c:v>12.84</c:v>
                </c:pt>
                <c:pt idx="19">
                  <c:v>13.35</c:v>
                </c:pt>
                <c:pt idx="20">
                  <c:v>13.19</c:v>
                </c:pt>
                <c:pt idx="21">
                  <c:v>13.15</c:v>
                </c:pt>
                <c:pt idx="22">
                  <c:v>13.75</c:v>
                </c:pt>
                <c:pt idx="23">
                  <c:v>12.39</c:v>
                </c:pt>
                <c:pt idx="24">
                  <c:v>13.81</c:v>
                </c:pt>
                <c:pt idx="25">
                  <c:v>14.92</c:v>
                </c:pt>
                <c:pt idx="26">
                  <c:v>13.31</c:v>
                </c:pt>
                <c:pt idx="27">
                  <c:v>14</c:v>
                </c:pt>
                <c:pt idx="28">
                  <c:v>11.9</c:v>
                </c:pt>
                <c:pt idx="29">
                  <c:v>13.98</c:v>
                </c:pt>
                <c:pt idx="30">
                  <c:v>13.51</c:v>
                </c:pt>
                <c:pt idx="31">
                  <c:v>14.77</c:v>
                </c:pt>
                <c:pt idx="32">
                  <c:v>10.84</c:v>
                </c:pt>
                <c:pt idx="33">
                  <c:v>14.15</c:v>
                </c:pt>
                <c:pt idx="34">
                  <c:v>13.98</c:v>
                </c:pt>
                <c:pt idx="35">
                  <c:v>13.41</c:v>
                </c:pt>
                <c:pt idx="36">
                  <c:v>13.64</c:v>
                </c:pt>
                <c:pt idx="37">
                  <c:v>12.92</c:v>
                </c:pt>
                <c:pt idx="38">
                  <c:v>15.15</c:v>
                </c:pt>
                <c:pt idx="39">
                  <c:v>14.14</c:v>
                </c:pt>
                <c:pt idx="40">
                  <c:v>14.9</c:v>
                </c:pt>
                <c:pt idx="41">
                  <c:v>14.47</c:v>
                </c:pt>
                <c:pt idx="42">
                  <c:v>14.63</c:v>
                </c:pt>
                <c:pt idx="43">
                  <c:v>14.93</c:v>
                </c:pt>
                <c:pt idx="44">
                  <c:v>16.239999999999998</c:v>
                </c:pt>
                <c:pt idx="45">
                  <c:v>15.18</c:v>
                </c:pt>
                <c:pt idx="46">
                  <c:v>14.66</c:v>
                </c:pt>
                <c:pt idx="47">
                  <c:v>14.71</c:v>
                </c:pt>
                <c:pt idx="48">
                  <c:v>16.27</c:v>
                </c:pt>
                <c:pt idx="49">
                  <c:v>16.190000000000001</c:v>
                </c:pt>
                <c:pt idx="50">
                  <c:v>15.59</c:v>
                </c:pt>
                <c:pt idx="51">
                  <c:v>15.63</c:v>
                </c:pt>
                <c:pt idx="52">
                  <c:v>14.34</c:v>
                </c:pt>
                <c:pt idx="53">
                  <c:v>14.31</c:v>
                </c:pt>
                <c:pt idx="54">
                  <c:v>13.5</c:v>
                </c:pt>
                <c:pt idx="55">
                  <c:v>13.23</c:v>
                </c:pt>
                <c:pt idx="56">
                  <c:v>14.47</c:v>
                </c:pt>
                <c:pt idx="57">
                  <c:v>15.89</c:v>
                </c:pt>
                <c:pt idx="58">
                  <c:v>14.5</c:v>
                </c:pt>
                <c:pt idx="59">
                  <c:v>14.22</c:v>
                </c:pt>
                <c:pt idx="60">
                  <c:v>14.26</c:v>
                </c:pt>
                <c:pt idx="61">
                  <c:v>15.82</c:v>
                </c:pt>
                <c:pt idx="62">
                  <c:v>14.93</c:v>
                </c:pt>
                <c:pt idx="63">
                  <c:v>12.84</c:v>
                </c:pt>
                <c:pt idx="64">
                  <c:v>13.48</c:v>
                </c:pt>
                <c:pt idx="65">
                  <c:v>13.69</c:v>
                </c:pt>
                <c:pt idx="66">
                  <c:v>16.59</c:v>
                </c:pt>
                <c:pt idx="67">
                  <c:v>14.91</c:v>
                </c:pt>
                <c:pt idx="68">
                  <c:v>15.29</c:v>
                </c:pt>
                <c:pt idx="69">
                  <c:v>14.76</c:v>
                </c:pt>
                <c:pt idx="70">
                  <c:v>17.059999999999999</c:v>
                </c:pt>
                <c:pt idx="71">
                  <c:v>15.62</c:v>
                </c:pt>
                <c:pt idx="72">
                  <c:v>15.2</c:v>
                </c:pt>
                <c:pt idx="73">
                  <c:v>16.010000000000002</c:v>
                </c:pt>
                <c:pt idx="74">
                  <c:v>16.73</c:v>
                </c:pt>
                <c:pt idx="75">
                  <c:v>13.68</c:v>
                </c:pt>
                <c:pt idx="76">
                  <c:v>13.68</c:v>
                </c:pt>
                <c:pt idx="77">
                  <c:v>15.22</c:v>
                </c:pt>
                <c:pt idx="78">
                  <c:v>16.47</c:v>
                </c:pt>
                <c:pt idx="79">
                  <c:v>16.760000000000002</c:v>
                </c:pt>
                <c:pt idx="80">
                  <c:v>16.91</c:v>
                </c:pt>
                <c:pt idx="81">
                  <c:v>15.62</c:v>
                </c:pt>
                <c:pt idx="82">
                  <c:v>16.670000000000002</c:v>
                </c:pt>
                <c:pt idx="83">
                  <c:v>18.52</c:v>
                </c:pt>
                <c:pt idx="84">
                  <c:v>21.15</c:v>
                </c:pt>
                <c:pt idx="85">
                  <c:v>19.29</c:v>
                </c:pt>
                <c:pt idx="86">
                  <c:v>18.84</c:v>
                </c:pt>
                <c:pt idx="87">
                  <c:v>17.760000000000002</c:v>
                </c:pt>
                <c:pt idx="88">
                  <c:v>18.39</c:v>
                </c:pt>
                <c:pt idx="89">
                  <c:v>20.239999999999998</c:v>
                </c:pt>
                <c:pt idx="90">
                  <c:v>16.82</c:v>
                </c:pt>
                <c:pt idx="91">
                  <c:v>18.690000000000001</c:v>
                </c:pt>
                <c:pt idx="92">
                  <c:v>17.63</c:v>
                </c:pt>
                <c:pt idx="93">
                  <c:v>17.72</c:v>
                </c:pt>
                <c:pt idx="94">
                  <c:v>19.16</c:v>
                </c:pt>
                <c:pt idx="95">
                  <c:v>16.38</c:v>
                </c:pt>
                <c:pt idx="96">
                  <c:v>20.170000000000002</c:v>
                </c:pt>
                <c:pt idx="97">
                  <c:v>16.41</c:v>
                </c:pt>
                <c:pt idx="98">
                  <c:v>16.13</c:v>
                </c:pt>
                <c:pt idx="99">
                  <c:v>16.32</c:v>
                </c:pt>
                <c:pt idx="100">
                  <c:v>16.809999999999999</c:v>
                </c:pt>
                <c:pt idx="101">
                  <c:v>14.18</c:v>
                </c:pt>
                <c:pt idx="102">
                  <c:v>14.09</c:v>
                </c:pt>
                <c:pt idx="103">
                  <c:v>13.68</c:v>
                </c:pt>
                <c:pt idx="104">
                  <c:v>13.67</c:v>
                </c:pt>
                <c:pt idx="105">
                  <c:v>13.9</c:v>
                </c:pt>
                <c:pt idx="106">
                  <c:v>14.13</c:v>
                </c:pt>
                <c:pt idx="107">
                  <c:v>14.01</c:v>
                </c:pt>
                <c:pt idx="108">
                  <c:v>13.18</c:v>
                </c:pt>
                <c:pt idx="109">
                  <c:v>14.94</c:v>
                </c:pt>
                <c:pt idx="110" formatCode="General">
                  <c:v>14.23</c:v>
                </c:pt>
                <c:pt idx="111">
                  <c:v>14.41</c:v>
                </c:pt>
                <c:pt idx="112">
                  <c:v>13.3</c:v>
                </c:pt>
                <c:pt idx="113">
                  <c:v>14.42</c:v>
                </c:pt>
                <c:pt idx="114">
                  <c:v>14.14</c:v>
                </c:pt>
                <c:pt idx="115">
                  <c:v>14.23</c:v>
                </c:pt>
                <c:pt idx="116">
                  <c:v>14.55</c:v>
                </c:pt>
                <c:pt idx="117">
                  <c:v>13.6</c:v>
                </c:pt>
                <c:pt idx="118">
                  <c:v>12.72</c:v>
                </c:pt>
                <c:pt idx="119">
                  <c:v>14.76</c:v>
                </c:pt>
                <c:pt idx="120">
                  <c:v>13.56</c:v>
                </c:pt>
                <c:pt idx="121">
                  <c:v>15.09</c:v>
                </c:pt>
                <c:pt idx="122">
                  <c:v>15.13</c:v>
                </c:pt>
                <c:pt idx="123">
                  <c:v>14.84</c:v>
                </c:pt>
                <c:pt idx="124">
                  <c:v>14.91</c:v>
                </c:pt>
                <c:pt idx="125" formatCode="General">
                  <c:v>15.5</c:v>
                </c:pt>
                <c:pt idx="126">
                  <c:v>15.52</c:v>
                </c:pt>
                <c:pt idx="127">
                  <c:v>17.93</c:v>
                </c:pt>
                <c:pt idx="128">
                  <c:v>15.86</c:v>
                </c:pt>
                <c:pt idx="129">
                  <c:v>15.22</c:v>
                </c:pt>
                <c:pt idx="130">
                  <c:v>16.28</c:v>
                </c:pt>
                <c:pt idx="131">
                  <c:v>14.8</c:v>
                </c:pt>
                <c:pt idx="132">
                  <c:v>15.41</c:v>
                </c:pt>
                <c:pt idx="133">
                  <c:v>16.18</c:v>
                </c:pt>
                <c:pt idx="134">
                  <c:v>16.88</c:v>
                </c:pt>
                <c:pt idx="135">
                  <c:v>16.16</c:v>
                </c:pt>
                <c:pt idx="136">
                  <c:v>17.510000000000002</c:v>
                </c:pt>
                <c:pt idx="137">
                  <c:v>14.93</c:v>
                </c:pt>
                <c:pt idx="138">
                  <c:v>15.95</c:v>
                </c:pt>
                <c:pt idx="139">
                  <c:v>15.5</c:v>
                </c:pt>
                <c:pt idx="140">
                  <c:v>14.66</c:v>
                </c:pt>
                <c:pt idx="141">
                  <c:v>14.33</c:v>
                </c:pt>
                <c:pt idx="142">
                  <c:v>16.43</c:v>
                </c:pt>
                <c:pt idx="143">
                  <c:v>16.16</c:v>
                </c:pt>
                <c:pt idx="144">
                  <c:v>16.47</c:v>
                </c:pt>
                <c:pt idx="145">
                  <c:v>15.27</c:v>
                </c:pt>
                <c:pt idx="146">
                  <c:v>15.09</c:v>
                </c:pt>
                <c:pt idx="147">
                  <c:v>16.59</c:v>
                </c:pt>
                <c:pt idx="148">
                  <c:v>15.2</c:v>
                </c:pt>
                <c:pt idx="149">
                  <c:v>14.78</c:v>
                </c:pt>
                <c:pt idx="150">
                  <c:v>14.33</c:v>
                </c:pt>
                <c:pt idx="151">
                  <c:v>13.93</c:v>
                </c:pt>
                <c:pt idx="152">
                  <c:v>13.34</c:v>
                </c:pt>
                <c:pt idx="153">
                  <c:v>13.39</c:v>
                </c:pt>
                <c:pt idx="154">
                  <c:v>12.45</c:v>
                </c:pt>
                <c:pt idx="155">
                  <c:v>15.55</c:v>
                </c:pt>
                <c:pt idx="156">
                  <c:v>13.91</c:v>
                </c:pt>
                <c:pt idx="157">
                  <c:v>13.57</c:v>
                </c:pt>
                <c:pt idx="158">
                  <c:v>15.66</c:v>
                </c:pt>
                <c:pt idx="159">
                  <c:v>14.68</c:v>
                </c:pt>
                <c:pt idx="160">
                  <c:v>13.89</c:v>
                </c:pt>
                <c:pt idx="161">
                  <c:v>14.09</c:v>
                </c:pt>
                <c:pt idx="162">
                  <c:v>13.94</c:v>
                </c:pt>
                <c:pt idx="163" formatCode="General">
                  <c:v>14.42</c:v>
                </c:pt>
                <c:pt idx="164" formatCode="General">
                  <c:v>12.91</c:v>
                </c:pt>
                <c:pt idx="165">
                  <c:v>14.26</c:v>
                </c:pt>
                <c:pt idx="166">
                  <c:v>12.73</c:v>
                </c:pt>
                <c:pt idx="167">
                  <c:v>15.01</c:v>
                </c:pt>
                <c:pt idx="168">
                  <c:v>13.76</c:v>
                </c:pt>
                <c:pt idx="169">
                  <c:v>14.92</c:v>
                </c:pt>
                <c:pt idx="170">
                  <c:v>13.32</c:v>
                </c:pt>
                <c:pt idx="171">
                  <c:v>14.46</c:v>
                </c:pt>
                <c:pt idx="172">
                  <c:v>14.84</c:v>
                </c:pt>
                <c:pt idx="173">
                  <c:v>14.05</c:v>
                </c:pt>
                <c:pt idx="174">
                  <c:v>14.19</c:v>
                </c:pt>
                <c:pt idx="175">
                  <c:v>13.38</c:v>
                </c:pt>
                <c:pt idx="176">
                  <c:v>14.72</c:v>
                </c:pt>
                <c:pt idx="177">
                  <c:v>14.96</c:v>
                </c:pt>
                <c:pt idx="178">
                  <c:v>15.13</c:v>
                </c:pt>
                <c:pt idx="179">
                  <c:v>14.42</c:v>
                </c:pt>
                <c:pt idx="180">
                  <c:v>14.95</c:v>
                </c:pt>
                <c:pt idx="181">
                  <c:v>14.31</c:v>
                </c:pt>
                <c:pt idx="182">
                  <c:v>14.65</c:v>
                </c:pt>
                <c:pt idx="183">
                  <c:v>14.43</c:v>
                </c:pt>
                <c:pt idx="184">
                  <c:v>16.760000000000002</c:v>
                </c:pt>
                <c:pt idx="185">
                  <c:v>15.07</c:v>
                </c:pt>
                <c:pt idx="186">
                  <c:v>15.9</c:v>
                </c:pt>
                <c:pt idx="187">
                  <c:v>15.82</c:v>
                </c:pt>
                <c:pt idx="188">
                  <c:v>15.48</c:v>
                </c:pt>
                <c:pt idx="189">
                  <c:v>15.48</c:v>
                </c:pt>
                <c:pt idx="190">
                  <c:v>15.35</c:v>
                </c:pt>
                <c:pt idx="191">
                  <c:v>13.6</c:v>
                </c:pt>
                <c:pt idx="192" formatCode="#,##0.00">
                  <c:v>14.82</c:v>
                </c:pt>
                <c:pt idx="193" formatCode="#,##0.00">
                  <c:v>14.58</c:v>
                </c:pt>
                <c:pt idx="194" formatCode="#,##0.00">
                  <c:v>14.74</c:v>
                </c:pt>
                <c:pt idx="195" formatCode="#,##0.00">
                  <c:v>14.03</c:v>
                </c:pt>
                <c:pt idx="196" formatCode="#,##0.00">
                  <c:v>14.64</c:v>
                </c:pt>
                <c:pt idx="197" formatCode="#,##0.00">
                  <c:v>14.33</c:v>
                </c:pt>
                <c:pt idx="198" formatCode="#,##0.00">
                  <c:v>14.26</c:v>
                </c:pt>
                <c:pt idx="199" formatCode="#,##0.00">
                  <c:v>14.49</c:v>
                </c:pt>
                <c:pt idx="200" formatCode="#,##0.00">
                  <c:v>15.14</c:v>
                </c:pt>
                <c:pt idx="201" formatCode="#,##0.00">
                  <c:v>14.41</c:v>
                </c:pt>
                <c:pt idx="202" formatCode="#,##0.00">
                  <c:v>14.13</c:v>
                </c:pt>
                <c:pt idx="203" formatCode="#,##0.00">
                  <c:v>15.46</c:v>
                </c:pt>
                <c:pt idx="204" formatCode="#,##0.00">
                  <c:v>15.16</c:v>
                </c:pt>
                <c:pt idx="205" formatCode="#,##0.00">
                  <c:v>15.36</c:v>
                </c:pt>
                <c:pt idx="206" formatCode="#,##0.00">
                  <c:v>13.95</c:v>
                </c:pt>
                <c:pt idx="207" formatCode="#,##0.00">
                  <c:v>13.93</c:v>
                </c:pt>
                <c:pt idx="208" formatCode="#,##0.00">
                  <c:v>14.11</c:v>
                </c:pt>
                <c:pt idx="209" formatCode="#,##0.00">
                  <c:v>14.48</c:v>
                </c:pt>
                <c:pt idx="210" formatCode="#,##0.00">
                  <c:v>14.08</c:v>
                </c:pt>
                <c:pt idx="211" formatCode="#,##0.00">
                  <c:v>14.43</c:v>
                </c:pt>
                <c:pt idx="212" formatCode="#,##0.00">
                  <c:v>14</c:v>
                </c:pt>
                <c:pt idx="213" formatCode="#,##0.00">
                  <c:v>15.72</c:v>
                </c:pt>
                <c:pt idx="214" formatCode="#,##0.00">
                  <c:v>14.92</c:v>
                </c:pt>
                <c:pt idx="215" formatCode="#,##0.00">
                  <c:v>15.36</c:v>
                </c:pt>
                <c:pt idx="216" formatCode="#,##0.00">
                  <c:v>15.66</c:v>
                </c:pt>
                <c:pt idx="217" formatCode="#,##0.00">
                  <c:v>15.47</c:v>
                </c:pt>
                <c:pt idx="218" formatCode="#,##0.00">
                  <c:v>15.43</c:v>
                </c:pt>
                <c:pt idx="219" formatCode="#,##0.00">
                  <c:v>15.5</c:v>
                </c:pt>
                <c:pt idx="220" formatCode="#,##0.00">
                  <c:v>16.670000000000002</c:v>
                </c:pt>
                <c:pt idx="221" formatCode="#,##0.00">
                  <c:v>16.850000000000001</c:v>
                </c:pt>
                <c:pt idx="222" formatCode="#,##0.00">
                  <c:v>16.21</c:v>
                </c:pt>
                <c:pt idx="223" formatCode="#,##0.00">
                  <c:v>20.23</c:v>
                </c:pt>
                <c:pt idx="224" formatCode="#,##0.00">
                  <c:v>15.14</c:v>
                </c:pt>
                <c:pt idx="225" formatCode="#,##0.00">
                  <c:v>16.43</c:v>
                </c:pt>
                <c:pt idx="226" formatCode="#,##0.00">
                  <c:v>16.21</c:v>
                </c:pt>
                <c:pt idx="227" formatCode="#,##0.00">
                  <c:v>15.58</c:v>
                </c:pt>
                <c:pt idx="228" formatCode="#,##0.00">
                  <c:v>16.75</c:v>
                </c:pt>
                <c:pt idx="229" formatCode="#,##0.00">
                  <c:v>15.2</c:v>
                </c:pt>
                <c:pt idx="230" formatCode="#,##0.00">
                  <c:v>16.68</c:v>
                </c:pt>
                <c:pt idx="231" formatCode="#,##0.00">
                  <c:v>17.05</c:v>
                </c:pt>
                <c:pt idx="232" formatCode="#,##0.00">
                  <c:v>16.52</c:v>
                </c:pt>
                <c:pt idx="233" formatCode="#,##0.00">
                  <c:v>17.71</c:v>
                </c:pt>
                <c:pt idx="234" formatCode="#,##0.00">
                  <c:v>18.309999999999999</c:v>
                </c:pt>
                <c:pt idx="235" formatCode="#,##0.00">
                  <c:v>17.670000000000002</c:v>
                </c:pt>
                <c:pt idx="236" formatCode="#,##0.00">
                  <c:v>17.989999999999998</c:v>
                </c:pt>
                <c:pt idx="237" formatCode="#,##0.00">
                  <c:v>17.93</c:v>
                </c:pt>
                <c:pt idx="238" formatCode="#,##0.00">
                  <c:v>17.78</c:v>
                </c:pt>
                <c:pt idx="239" formatCode="#,##0.00">
                  <c:v>18.48</c:v>
                </c:pt>
                <c:pt idx="240" formatCode="#,##0.00">
                  <c:v>17.78</c:v>
                </c:pt>
                <c:pt idx="241" formatCode="#,##0.00">
                  <c:v>18.03</c:v>
                </c:pt>
                <c:pt idx="242" formatCode="#,##0.00">
                  <c:v>17.53</c:v>
                </c:pt>
                <c:pt idx="243" formatCode="#,##0.00">
                  <c:v>16.420000000000002</c:v>
                </c:pt>
                <c:pt idx="244" formatCode="#,##0.00">
                  <c:v>16.84</c:v>
                </c:pt>
                <c:pt idx="245" formatCode="#,##0.00">
                  <c:v>16.13</c:v>
                </c:pt>
                <c:pt idx="246" formatCode="#,##0.00">
                  <c:v>15.81</c:v>
                </c:pt>
                <c:pt idx="247" formatCode="#,##0.00">
                  <c:v>15.45</c:v>
                </c:pt>
                <c:pt idx="248" formatCode="#,##0.00">
                  <c:v>15.2</c:v>
                </c:pt>
                <c:pt idx="249" formatCode="#,##0.00">
                  <c:v>14.45</c:v>
                </c:pt>
                <c:pt idx="250" formatCode="#,##0.00">
                  <c:v>14.99</c:v>
                </c:pt>
                <c:pt idx="251" formatCode="#,##0.00">
                  <c:v>16.07</c:v>
                </c:pt>
                <c:pt idx="252" formatCode="#,##0.00">
                  <c:v>15.06</c:v>
                </c:pt>
                <c:pt idx="253" formatCode="#,##0.00">
                  <c:v>16.62</c:v>
                </c:pt>
                <c:pt idx="254" formatCode="#,##0.00">
                  <c:v>15.5</c:v>
                </c:pt>
                <c:pt idx="255" formatCode="#,##0.00">
                  <c:v>16.420000000000002</c:v>
                </c:pt>
                <c:pt idx="256" formatCode="#,##0.00">
                  <c:v>16.14</c:v>
                </c:pt>
                <c:pt idx="257" formatCode="#,##0.00">
                  <c:v>16.95</c:v>
                </c:pt>
                <c:pt idx="258" formatCode="#,##0.00">
                  <c:v>16.02</c:v>
                </c:pt>
                <c:pt idx="259" formatCode="#,##0.00">
                  <c:v>15.54</c:v>
                </c:pt>
                <c:pt idx="260" formatCode="#,##0.00">
                  <c:v>16.03</c:v>
                </c:pt>
                <c:pt idx="261" formatCode="#,##0.00">
                  <c:v>15.28</c:v>
                </c:pt>
                <c:pt idx="262" formatCode="#,##0.00">
                  <c:v>16.78</c:v>
                </c:pt>
                <c:pt idx="263" formatCode="#,##0.00">
                  <c:v>16.899999999999999</c:v>
                </c:pt>
                <c:pt idx="264" formatCode="#,##0.00">
                  <c:v>16.690000000000001</c:v>
                </c:pt>
                <c:pt idx="265" formatCode="#,##0.00">
                  <c:v>18.690000000000001</c:v>
                </c:pt>
                <c:pt idx="266" formatCode="#,##0.00">
                  <c:v>15.69</c:v>
                </c:pt>
                <c:pt idx="267" formatCode="#,##0.00">
                  <c:v>15.92</c:v>
                </c:pt>
                <c:pt idx="268" formatCode="#,##0.00">
                  <c:v>16.579999999999998</c:v>
                </c:pt>
                <c:pt idx="269" formatCode="#,##0.00">
                  <c:v>18.11</c:v>
                </c:pt>
                <c:pt idx="270" formatCode="#,##0.00">
                  <c:v>16.760000000000002</c:v>
                </c:pt>
                <c:pt idx="271" formatCode="#,##0.00">
                  <c:v>17.21</c:v>
                </c:pt>
                <c:pt idx="272" formatCode="#,##0.00">
                  <c:v>19.64</c:v>
                </c:pt>
                <c:pt idx="273" formatCode="#,##0.00">
                  <c:v>16.98</c:v>
                </c:pt>
                <c:pt idx="274" formatCode="#,##0.00">
                  <c:v>18.579999999999998</c:v>
                </c:pt>
                <c:pt idx="275" formatCode="#,##0.00">
                  <c:v>17.66</c:v>
                </c:pt>
                <c:pt idx="276" formatCode="#,##0.00">
                  <c:v>16.91</c:v>
                </c:pt>
                <c:pt idx="277" formatCode="#,##0.00">
                  <c:v>16.05</c:v>
                </c:pt>
                <c:pt idx="278" formatCode="#,##0.00">
                  <c:v>17.97</c:v>
                </c:pt>
                <c:pt idx="279" formatCode="#,##0.00">
                  <c:v>17.47</c:v>
                </c:pt>
                <c:pt idx="280" formatCode="#,##0.00">
                  <c:v>18.53</c:v>
                </c:pt>
                <c:pt idx="281" formatCode="#,##0.00">
                  <c:v>18.29</c:v>
                </c:pt>
                <c:pt idx="282" formatCode="#,##0.00">
                  <c:v>18.05</c:v>
                </c:pt>
                <c:pt idx="283" formatCode="#,##0.00">
                  <c:v>16.52</c:v>
                </c:pt>
                <c:pt idx="284" formatCode="#,##0.00">
                  <c:v>15.58</c:v>
                </c:pt>
                <c:pt idx="285" formatCode="#,##0.00">
                  <c:v>16.04</c:v>
                </c:pt>
                <c:pt idx="286" formatCode="#,##0.00">
                  <c:v>15.75</c:v>
                </c:pt>
                <c:pt idx="287" formatCode="#,##0.00">
                  <c:v>19.989999999999998</c:v>
                </c:pt>
                <c:pt idx="288" formatCode="#,##0.00">
                  <c:v>15.48</c:v>
                </c:pt>
                <c:pt idx="289" formatCode="#,##0.00">
                  <c:v>15.67</c:v>
                </c:pt>
                <c:pt idx="290" formatCode="#,##0.00">
                  <c:v>15.55</c:v>
                </c:pt>
                <c:pt idx="291" formatCode="#,##0.00">
                  <c:v>16.899999999999999</c:v>
                </c:pt>
                <c:pt idx="292" formatCode="#,##0.00">
                  <c:v>14.88</c:v>
                </c:pt>
                <c:pt idx="293" formatCode="#,##0.00">
                  <c:v>17.84</c:v>
                </c:pt>
                <c:pt idx="294" formatCode="#,##0.00">
                  <c:v>17</c:v>
                </c:pt>
                <c:pt idx="295" formatCode="#,##0.00">
                  <c:v>17.690000000000001</c:v>
                </c:pt>
                <c:pt idx="296" formatCode="#,##0.00">
                  <c:v>16.309999999999999</c:v>
                </c:pt>
                <c:pt idx="297" formatCode="#,##0.00">
                  <c:v>16.670000000000002</c:v>
                </c:pt>
                <c:pt idx="298" formatCode="#,##0.00">
                  <c:v>15.47</c:v>
                </c:pt>
                <c:pt idx="299" formatCode="#,##0.00">
                  <c:v>16.170000000000002</c:v>
                </c:pt>
                <c:pt idx="300" formatCode="#,##0.00">
                  <c:v>16.91</c:v>
                </c:pt>
                <c:pt idx="301" formatCode="#,##0.00">
                  <c:v>16.36</c:v>
                </c:pt>
                <c:pt idx="302" formatCode="#,##0.00">
                  <c:v>16.8</c:v>
                </c:pt>
                <c:pt idx="303" formatCode="#,##0.00">
                  <c:v>16.12</c:v>
                </c:pt>
                <c:pt idx="304" formatCode="#,##0.00">
                  <c:v>15.77</c:v>
                </c:pt>
                <c:pt idx="305" formatCode="#,##0.00">
                  <c:v>15.72</c:v>
                </c:pt>
                <c:pt idx="306" formatCode="#,##0.00">
                  <c:v>16.739999999999998</c:v>
                </c:pt>
                <c:pt idx="307" formatCode="#,##0.00">
                  <c:v>15.73</c:v>
                </c:pt>
                <c:pt idx="308" formatCode="#,##0.00">
                  <c:v>16.82</c:v>
                </c:pt>
                <c:pt idx="309" formatCode="#,##0.00">
                  <c:v>15.92</c:v>
                </c:pt>
                <c:pt idx="310" formatCode="#,##0.00">
                  <c:v>17.170000000000002</c:v>
                </c:pt>
                <c:pt idx="311" formatCode="#,##0.00">
                  <c:v>16.11</c:v>
                </c:pt>
                <c:pt idx="312" formatCode="#,##0.00">
                  <c:v>17.23</c:v>
                </c:pt>
                <c:pt idx="313" formatCode="#,##0.00">
                  <c:v>17.68</c:v>
                </c:pt>
                <c:pt idx="314" formatCode="#,##0.00">
                  <c:v>19.02</c:v>
                </c:pt>
                <c:pt idx="315" formatCode="#,##0.00">
                  <c:v>18.77</c:v>
                </c:pt>
                <c:pt idx="316" formatCode="#,##0.00">
                  <c:v>16.37</c:v>
                </c:pt>
                <c:pt idx="317" formatCode="#,##0.00">
                  <c:v>18.29</c:v>
                </c:pt>
                <c:pt idx="318" formatCode="#,##0.00">
                  <c:v>18.09</c:v>
                </c:pt>
                <c:pt idx="319" formatCode="#,##0.00">
                  <c:v>17.149999999999999</c:v>
                </c:pt>
                <c:pt idx="320" formatCode="#,##0.00">
                  <c:v>18.440000000000001</c:v>
                </c:pt>
                <c:pt idx="321" formatCode="#,##0.00">
                  <c:v>18.13</c:v>
                </c:pt>
                <c:pt idx="322" formatCode="#,##0.00">
                  <c:v>18.399999999999999</c:v>
                </c:pt>
                <c:pt idx="323" formatCode="#,##0.00">
                  <c:v>17.46</c:v>
                </c:pt>
                <c:pt idx="324" formatCode="#,##0.00">
                  <c:v>17.59</c:v>
                </c:pt>
                <c:pt idx="325" formatCode="#,##0.00">
                  <c:v>18.45</c:v>
                </c:pt>
                <c:pt idx="326" formatCode="#,##0.00">
                  <c:v>17.579999999999998</c:v>
                </c:pt>
                <c:pt idx="327" formatCode="#,##0.00">
                  <c:v>18.95</c:v>
                </c:pt>
                <c:pt idx="328" formatCode="#,##0.00">
                  <c:v>19.11</c:v>
                </c:pt>
                <c:pt idx="329" formatCode="#,##0.00">
                  <c:v>18.91</c:v>
                </c:pt>
                <c:pt idx="330" formatCode="#,##0.00">
                  <c:v>17.84</c:v>
                </c:pt>
                <c:pt idx="331" formatCode="#,##0.00">
                  <c:v>20.170000000000002</c:v>
                </c:pt>
                <c:pt idx="332" formatCode="#,##0.00">
                  <c:v>19.07</c:v>
                </c:pt>
                <c:pt idx="333" formatCode="#,##0.00">
                  <c:v>19.899999999999999</c:v>
                </c:pt>
                <c:pt idx="334" formatCode="#,##0.00">
                  <c:v>20.46</c:v>
                </c:pt>
                <c:pt idx="335" formatCode="#,##0.00">
                  <c:v>20.75</c:v>
                </c:pt>
                <c:pt idx="336" formatCode="#,##0.00">
                  <c:v>20.12</c:v>
                </c:pt>
                <c:pt idx="337" formatCode="#,##0.00">
                  <c:v>20.84</c:v>
                </c:pt>
                <c:pt idx="338" formatCode="#,##0.00">
                  <c:v>21.76</c:v>
                </c:pt>
                <c:pt idx="339" formatCode="#,##0.00">
                  <c:v>21.04</c:v>
                </c:pt>
                <c:pt idx="340" formatCode="#,##0.00">
                  <c:v>20.99</c:v>
                </c:pt>
                <c:pt idx="341" formatCode="#,##0.00">
                  <c:v>21.6</c:v>
                </c:pt>
                <c:pt idx="342" formatCode="#,##0.00">
                  <c:v>22.49</c:v>
                </c:pt>
                <c:pt idx="343" formatCode="#,##0.00">
                  <c:v>22.54</c:v>
                </c:pt>
                <c:pt idx="344" formatCode="#,##0.00">
                  <c:v>21.78</c:v>
                </c:pt>
                <c:pt idx="345" formatCode="#,##0.00">
                  <c:v>22.54</c:v>
                </c:pt>
                <c:pt idx="346" formatCode="#,##0.00">
                  <c:v>23.25</c:v>
                </c:pt>
                <c:pt idx="347" formatCode="#,##0.00">
                  <c:v>22.62</c:v>
                </c:pt>
                <c:pt idx="348" formatCode="#,##0.00">
                  <c:v>22.7</c:v>
                </c:pt>
                <c:pt idx="349" formatCode="#,##0.00">
                  <c:v>22.98</c:v>
                </c:pt>
                <c:pt idx="350" formatCode="#,##0.00">
                  <c:v>22.9</c:v>
                </c:pt>
                <c:pt idx="351" formatCode="#,##0.00">
                  <c:v>25.51</c:v>
                </c:pt>
                <c:pt idx="352" formatCode="#,##0.00">
                  <c:v>23.99</c:v>
                </c:pt>
                <c:pt idx="353" formatCode="#,##0.00">
                  <c:v>23.23</c:v>
                </c:pt>
                <c:pt idx="354" formatCode="#,##0.00">
                  <c:v>24.44</c:v>
                </c:pt>
                <c:pt idx="355" formatCode="#,##0.00">
                  <c:v>23.85</c:v>
                </c:pt>
                <c:pt idx="356" formatCode="#,##0.00">
                  <c:v>28.26</c:v>
                </c:pt>
                <c:pt idx="357" formatCode="#,##0.00">
                  <c:v>23.67</c:v>
                </c:pt>
                <c:pt idx="358" formatCode="#,##0.00">
                  <c:v>23.38</c:v>
                </c:pt>
                <c:pt idx="359" formatCode="#,##0.00">
                  <c:v>23.27</c:v>
                </c:pt>
                <c:pt idx="360" formatCode="#,##0.00">
                  <c:v>24.09</c:v>
                </c:pt>
                <c:pt idx="361" formatCode="#,##0.00">
                  <c:v>26.37</c:v>
                </c:pt>
                <c:pt idx="362" formatCode="#,##0.00">
                  <c:v>23.73</c:v>
                </c:pt>
                <c:pt idx="363" formatCode="#,##0.00">
                  <c:v>24.91</c:v>
                </c:pt>
                <c:pt idx="364" formatCode="#,##0.00">
                  <c:v>29.19</c:v>
                </c:pt>
                <c:pt idx="365" formatCode="#,##0.00">
                  <c:v>24.81</c:v>
                </c:pt>
                <c:pt idx="366" formatCode="#,##0.00">
                  <c:v>27.08</c:v>
                </c:pt>
                <c:pt idx="367" formatCode="#,##0.00">
                  <c:v>27.37</c:v>
                </c:pt>
                <c:pt idx="368" formatCode="#,##0.00">
                  <c:v>26.54</c:v>
                </c:pt>
                <c:pt idx="369" formatCode="#,##0.00">
                  <c:v>26.37</c:v>
                </c:pt>
                <c:pt idx="370" formatCode="#,##0.00">
                  <c:v>25.7</c:v>
                </c:pt>
                <c:pt idx="371" formatCode="#,##0.00">
                  <c:v>29.74</c:v>
                </c:pt>
                <c:pt idx="372" formatCode="#,##0.00">
                  <c:v>26.71</c:v>
                </c:pt>
                <c:pt idx="373" formatCode="#,##0.00">
                  <c:v>27.41</c:v>
                </c:pt>
                <c:pt idx="374" formatCode="#,##0.00">
                  <c:v>28.05</c:v>
                </c:pt>
                <c:pt idx="375" formatCode="#,##0.00">
                  <c:v>26.53</c:v>
                </c:pt>
                <c:pt idx="376" formatCode="#,##0.00">
                  <c:v>28.15</c:v>
                </c:pt>
                <c:pt idx="377" formatCode="#,##0.00">
                  <c:v>29.65</c:v>
                </c:pt>
                <c:pt idx="378" formatCode="#,##0.00">
                  <c:v>29.85</c:v>
                </c:pt>
                <c:pt idx="379" formatCode="#,##0.00">
                  <c:v>29.14</c:v>
                </c:pt>
                <c:pt idx="380" formatCode="#,##0.00">
                  <c:v>28.69</c:v>
                </c:pt>
                <c:pt idx="381" formatCode="#,##0.00">
                  <c:v>30.77</c:v>
                </c:pt>
                <c:pt idx="382" formatCode="#,##0.00">
                  <c:v>31.63</c:v>
                </c:pt>
                <c:pt idx="383" formatCode="#,##0.00">
                  <c:v>31.9</c:v>
                </c:pt>
                <c:pt idx="384" formatCode="#,##0.00">
                  <c:v>28.84</c:v>
                </c:pt>
                <c:pt idx="385" formatCode="#,##0.00">
                  <c:v>30.69</c:v>
                </c:pt>
                <c:pt idx="386" formatCode="#,##0.00">
                  <c:v>32.32</c:v>
                </c:pt>
                <c:pt idx="387" formatCode="#,##0.00">
                  <c:v>30.73</c:v>
                </c:pt>
                <c:pt idx="388" formatCode="#,##0.00">
                  <c:v>31.56</c:v>
                </c:pt>
                <c:pt idx="389" formatCode="#,##0.00">
                  <c:v>29.71</c:v>
                </c:pt>
                <c:pt idx="390" formatCode="#,##0.00">
                  <c:v>30.89</c:v>
                </c:pt>
                <c:pt idx="391" formatCode="#,##0.00">
                  <c:v>32.549999999999997</c:v>
                </c:pt>
                <c:pt idx="392" formatCode="#,##0.00">
                  <c:v>31.08</c:v>
                </c:pt>
                <c:pt idx="393" formatCode="#,##0.00">
                  <c:v>27.94</c:v>
                </c:pt>
                <c:pt idx="394" formatCode="#,##0.00">
                  <c:v>29.78</c:v>
                </c:pt>
                <c:pt idx="395" formatCode="#,##0.00">
                  <c:v>29.75</c:v>
                </c:pt>
                <c:pt idx="396" formatCode="#,##0.00">
                  <c:v>29.72</c:v>
                </c:pt>
                <c:pt idx="397" formatCode="#,##0.00">
                  <c:v>25.31</c:v>
                </c:pt>
                <c:pt idx="398" formatCode="#,##0.00">
                  <c:v>27.92</c:v>
                </c:pt>
                <c:pt idx="399" formatCode="#,##0.00">
                  <c:v>27.2</c:v>
                </c:pt>
                <c:pt idx="400" formatCode="#,##0.00">
                  <c:v>28.59</c:v>
                </c:pt>
                <c:pt idx="401" formatCode="#,##0.00">
                  <c:v>25.73</c:v>
                </c:pt>
                <c:pt idx="402" formatCode="#,##0.00">
                  <c:v>26.08</c:v>
                </c:pt>
                <c:pt idx="403" formatCode="#,##0.00">
                  <c:v>26.26</c:v>
                </c:pt>
                <c:pt idx="404" formatCode="#,##0.00">
                  <c:v>26.27</c:v>
                </c:pt>
                <c:pt idx="405" formatCode="#,##0.00">
                  <c:v>27.87</c:v>
                </c:pt>
                <c:pt idx="406" formatCode="#,##0.00">
                  <c:v>25.65</c:v>
                </c:pt>
                <c:pt idx="407" formatCode="General">
                  <c:v>29.72</c:v>
                </c:pt>
                <c:pt idx="408" formatCode="General">
                  <c:v>25.86</c:v>
                </c:pt>
                <c:pt idx="409" formatCode="#,##0.00">
                  <c:v>26.27</c:v>
                </c:pt>
                <c:pt idx="410" formatCode="#,##0.00">
                  <c:v>25.45</c:v>
                </c:pt>
                <c:pt idx="411" formatCode="#,##0.00">
                  <c:v>28.44</c:v>
                </c:pt>
                <c:pt idx="412" formatCode="#,##0.00">
                  <c:v>25.41</c:v>
                </c:pt>
                <c:pt idx="413" formatCode="#,##0.00">
                  <c:v>26.03</c:v>
                </c:pt>
                <c:pt idx="414" formatCode="#,##0.00">
                  <c:v>25.94</c:v>
                </c:pt>
                <c:pt idx="415" formatCode="#,##0.00">
                  <c:v>25.87</c:v>
                </c:pt>
                <c:pt idx="416" formatCode="#,##0.00">
                  <c:v>27.2</c:v>
                </c:pt>
                <c:pt idx="417" formatCode="#,##0.00">
                  <c:v>30.25</c:v>
                </c:pt>
                <c:pt idx="418" formatCode="#,##0.00">
                  <c:v>27.39</c:v>
                </c:pt>
                <c:pt idx="419" formatCode="#,##0.00">
                  <c:v>29.66</c:v>
                </c:pt>
                <c:pt idx="420" formatCode="#,##0.00">
                  <c:v>29.4</c:v>
                </c:pt>
                <c:pt idx="421" formatCode="#,##0.00">
                  <c:v>30.06</c:v>
                </c:pt>
                <c:pt idx="422" formatCode="#,##0.00">
                  <c:v>27.71</c:v>
                </c:pt>
                <c:pt idx="423" formatCode="#,##0.00">
                  <c:v>28.47</c:v>
                </c:pt>
                <c:pt idx="424" formatCode="#,##0.00">
                  <c:v>29.8</c:v>
                </c:pt>
                <c:pt idx="425" formatCode="#,##0.00">
                  <c:v>28.3</c:v>
                </c:pt>
                <c:pt idx="426" formatCode="#,##0.00">
                  <c:v>29.14</c:v>
                </c:pt>
                <c:pt idx="427" formatCode="#,##0.00">
                  <c:v>29.67</c:v>
                </c:pt>
                <c:pt idx="428" formatCode="#,##0.00">
                  <c:v>27.98</c:v>
                </c:pt>
                <c:pt idx="429" formatCode="#,##0.00">
                  <c:v>27.03</c:v>
                </c:pt>
                <c:pt idx="430" formatCode="#,##0.00">
                  <c:v>29.01</c:v>
                </c:pt>
                <c:pt idx="431" formatCode="#,##0.00">
                  <c:v>29.02</c:v>
                </c:pt>
                <c:pt idx="432" formatCode="#,##0.00">
                  <c:v>30.07</c:v>
                </c:pt>
                <c:pt idx="433" formatCode="#,##0.00">
                  <c:v>25.45</c:v>
                </c:pt>
                <c:pt idx="434" formatCode="#,##0.00">
                  <c:v>29.47</c:v>
                </c:pt>
                <c:pt idx="435" formatCode="#,##0.00">
                  <c:v>28.47</c:v>
                </c:pt>
                <c:pt idx="436" formatCode="#,##0.00">
                  <c:v>30.01</c:v>
                </c:pt>
                <c:pt idx="437" formatCode="#,##0.00">
                  <c:v>30.44</c:v>
                </c:pt>
                <c:pt idx="439" formatCode="#,##0.00">
                  <c:v>26.26</c:v>
                </c:pt>
                <c:pt idx="440" formatCode="#,##0.00">
                  <c:v>25.32</c:v>
                </c:pt>
                <c:pt idx="441" formatCode="#,##0.00">
                  <c:v>25.5</c:v>
                </c:pt>
                <c:pt idx="442" formatCode="#,##0.00">
                  <c:v>25.31</c:v>
                </c:pt>
                <c:pt idx="443" formatCode="#,##0.00">
                  <c:v>27.97</c:v>
                </c:pt>
                <c:pt idx="444" formatCode="#,##0.00">
                  <c:v>26.35</c:v>
                </c:pt>
                <c:pt idx="445" formatCode="#,##0.00">
                  <c:v>25.03</c:v>
                </c:pt>
                <c:pt idx="446" formatCode="#,##0.00">
                  <c:v>26.91</c:v>
                </c:pt>
                <c:pt idx="447" formatCode="#,##0.00">
                  <c:v>24.57</c:v>
                </c:pt>
                <c:pt idx="448" formatCode="#,##0.00">
                  <c:v>26.98</c:v>
                </c:pt>
                <c:pt idx="449" formatCode="#,##0.00">
                  <c:v>24.62</c:v>
                </c:pt>
                <c:pt idx="450" formatCode="#,##0.00">
                  <c:v>23.58</c:v>
                </c:pt>
                <c:pt idx="451" formatCode="#,##0.00">
                  <c:v>23.92</c:v>
                </c:pt>
                <c:pt idx="452" formatCode="#,##0.00">
                  <c:v>24.12</c:v>
                </c:pt>
                <c:pt idx="453" formatCode="#,##0.00">
                  <c:v>24.88</c:v>
                </c:pt>
                <c:pt idx="454" formatCode="#,##0.00">
                  <c:v>21.99</c:v>
                </c:pt>
                <c:pt idx="455" formatCode="#,##0.00">
                  <c:v>25.26</c:v>
                </c:pt>
                <c:pt idx="456" formatCode="#,##0.00">
                  <c:v>24.19</c:v>
                </c:pt>
                <c:pt idx="457" formatCode="#,##0.00">
                  <c:v>22.4</c:v>
                </c:pt>
                <c:pt idx="458" formatCode="#,##0.00">
                  <c:v>23.06</c:v>
                </c:pt>
                <c:pt idx="459" formatCode="#,##0.00">
                  <c:v>23.37</c:v>
                </c:pt>
                <c:pt idx="460" formatCode="#,##0.00">
                  <c:v>24.93</c:v>
                </c:pt>
                <c:pt idx="461" formatCode="#,##0.00">
                  <c:v>24.25</c:v>
                </c:pt>
                <c:pt idx="462" formatCode="#,##0.00">
                  <c:v>23.83</c:v>
                </c:pt>
                <c:pt idx="463" formatCode="#,##0.00">
                  <c:v>22.93</c:v>
                </c:pt>
                <c:pt idx="464" formatCode="#,##0.00">
                  <c:v>22.81</c:v>
                </c:pt>
                <c:pt idx="465" formatCode="#,##0.00">
                  <c:v>26.2</c:v>
                </c:pt>
                <c:pt idx="466" formatCode="#,##0.00">
                  <c:v>24.69</c:v>
                </c:pt>
                <c:pt idx="467" formatCode="#,##0.00">
                  <c:v>25.13</c:v>
                </c:pt>
                <c:pt idx="468" formatCode="General">
                  <c:v>25.93</c:v>
                </c:pt>
                <c:pt idx="469" formatCode="General">
                  <c:v>26.07</c:v>
                </c:pt>
                <c:pt idx="470" formatCode="General">
                  <c:v>25.27</c:v>
                </c:pt>
                <c:pt idx="471" formatCode="General">
                  <c:v>23.26</c:v>
                </c:pt>
                <c:pt idx="472" formatCode="General">
                  <c:v>24.77</c:v>
                </c:pt>
                <c:pt idx="473" formatCode="General">
                  <c:v>24.13</c:v>
                </c:pt>
                <c:pt idx="474" formatCode="General">
                  <c:v>25.47</c:v>
                </c:pt>
                <c:pt idx="475" formatCode="General">
                  <c:v>25.14</c:v>
                </c:pt>
                <c:pt idx="476" formatCode="General">
                  <c:v>26.82</c:v>
                </c:pt>
                <c:pt idx="477" formatCode="General">
                  <c:v>26.02</c:v>
                </c:pt>
                <c:pt idx="478" formatCode="General">
                  <c:v>25.61</c:v>
                </c:pt>
                <c:pt idx="479" formatCode="General">
                  <c:v>25.04</c:v>
                </c:pt>
                <c:pt idx="480" formatCode="General">
                  <c:v>25</c:v>
                </c:pt>
                <c:pt idx="481" formatCode="General">
                  <c:v>25.38</c:v>
                </c:pt>
                <c:pt idx="482" formatCode="General">
                  <c:v>25.3</c:v>
                </c:pt>
                <c:pt idx="483" formatCode="General">
                  <c:v>24.79</c:v>
                </c:pt>
                <c:pt idx="495" formatCode="General">
                  <c:v>28.59</c:v>
                </c:pt>
                <c:pt idx="496" formatCode="General">
                  <c:v>25.35</c:v>
                </c:pt>
                <c:pt idx="497" formatCode="General">
                  <c:v>25.28</c:v>
                </c:pt>
                <c:pt idx="498" formatCode="General">
                  <c:v>24.78</c:v>
                </c:pt>
                <c:pt idx="499" formatCode="General">
                  <c:v>24.02</c:v>
                </c:pt>
                <c:pt idx="500" formatCode="General">
                  <c:v>23.16</c:v>
                </c:pt>
                <c:pt idx="501" formatCode="General">
                  <c:v>23.16</c:v>
                </c:pt>
                <c:pt idx="502" formatCode="General">
                  <c:v>22.77</c:v>
                </c:pt>
                <c:pt idx="503" formatCode="General">
                  <c:v>23.87</c:v>
                </c:pt>
                <c:pt idx="504" formatCode="General">
                  <c:v>22.56</c:v>
                </c:pt>
                <c:pt idx="505" formatCode="General">
                  <c:v>24.3</c:v>
                </c:pt>
                <c:pt idx="506" formatCode="General">
                  <c:v>24.99</c:v>
                </c:pt>
                <c:pt idx="507" formatCode="General">
                  <c:v>25.06</c:v>
                </c:pt>
                <c:pt idx="508" formatCode="General">
                  <c:v>24.48</c:v>
                </c:pt>
                <c:pt idx="509" formatCode="General">
                  <c:v>23.8</c:v>
                </c:pt>
                <c:pt idx="510" formatCode="General">
                  <c:v>25.8</c:v>
                </c:pt>
                <c:pt idx="511" formatCode="General">
                  <c:v>23.03</c:v>
                </c:pt>
                <c:pt idx="512" formatCode="General">
                  <c:v>23.14</c:v>
                </c:pt>
                <c:pt idx="513" formatCode="General">
                  <c:v>24.01</c:v>
                </c:pt>
                <c:pt idx="514" formatCode="General">
                  <c:v>23.91</c:v>
                </c:pt>
                <c:pt idx="515" formatCode="General">
                  <c:v>26.49</c:v>
                </c:pt>
                <c:pt idx="516" formatCode="General">
                  <c:v>28.35</c:v>
                </c:pt>
                <c:pt idx="517" formatCode="General">
                  <c:v>24.27</c:v>
                </c:pt>
                <c:pt idx="518" formatCode="General">
                  <c:v>24.27</c:v>
                </c:pt>
                <c:pt idx="519" formatCode="General">
                  <c:v>27.34</c:v>
                </c:pt>
                <c:pt idx="520" formatCode="General">
                  <c:v>28.08</c:v>
                </c:pt>
                <c:pt idx="521" formatCode="General">
                  <c:v>25.57</c:v>
                </c:pt>
                <c:pt idx="522" formatCode="General">
                  <c:v>27.09</c:v>
                </c:pt>
                <c:pt idx="523" formatCode="General">
                  <c:v>30.88</c:v>
                </c:pt>
                <c:pt idx="524" formatCode="General">
                  <c:v>28.04</c:v>
                </c:pt>
                <c:pt idx="525" formatCode="General">
                  <c:v>27.92</c:v>
                </c:pt>
                <c:pt idx="526" formatCode="General">
                  <c:v>29.67</c:v>
                </c:pt>
                <c:pt idx="527" formatCode="General">
                  <c:v>28.86</c:v>
                </c:pt>
                <c:pt idx="528" formatCode="General">
                  <c:v>30.32</c:v>
                </c:pt>
                <c:pt idx="529" formatCode="General">
                  <c:v>29.27</c:v>
                </c:pt>
                <c:pt idx="530" formatCode="General">
                  <c:v>27.92</c:v>
                </c:pt>
                <c:pt idx="531" formatCode="General">
                  <c:v>29.12</c:v>
                </c:pt>
                <c:pt idx="532" formatCode="General">
                  <c:v>28.16</c:v>
                </c:pt>
                <c:pt idx="533" formatCode="General">
                  <c:v>32.36</c:v>
                </c:pt>
                <c:pt idx="534" formatCode="General">
                  <c:v>30.99</c:v>
                </c:pt>
                <c:pt idx="535" formatCode="General">
                  <c:v>30.38</c:v>
                </c:pt>
                <c:pt idx="536" formatCode="General">
                  <c:v>32.86</c:v>
                </c:pt>
                <c:pt idx="537" formatCode="General">
                  <c:v>32.229999999999997</c:v>
                </c:pt>
                <c:pt idx="538" formatCode="General">
                  <c:v>32.200000000000003</c:v>
                </c:pt>
                <c:pt idx="539" formatCode="General">
                  <c:v>30.64</c:v>
                </c:pt>
                <c:pt idx="540" formatCode="General">
                  <c:v>31.98</c:v>
                </c:pt>
                <c:pt idx="541" formatCode="General">
                  <c:v>33.9</c:v>
                </c:pt>
                <c:pt idx="542" formatCode="General">
                  <c:v>37.520000000000003</c:v>
                </c:pt>
                <c:pt idx="543" formatCode="General">
                  <c:v>31.95</c:v>
                </c:pt>
                <c:pt idx="544" formatCode="General">
                  <c:v>29.86</c:v>
                </c:pt>
                <c:pt idx="545" formatCode="General">
                  <c:v>31.19</c:v>
                </c:pt>
                <c:pt idx="546" formatCode="General">
                  <c:v>28.85</c:v>
                </c:pt>
                <c:pt idx="547" formatCode="General">
                  <c:v>38.549999999999997</c:v>
                </c:pt>
                <c:pt idx="548" formatCode="General">
                  <c:v>28.08</c:v>
                </c:pt>
                <c:pt idx="549" formatCode="General">
                  <c:v>31.27</c:v>
                </c:pt>
                <c:pt idx="550" formatCode="General">
                  <c:v>30.7</c:v>
                </c:pt>
                <c:pt idx="551" formatCode="General">
                  <c:v>29.74</c:v>
                </c:pt>
                <c:pt idx="552" formatCode="General">
                  <c:v>29.59</c:v>
                </c:pt>
                <c:pt idx="553" formatCode="General">
                  <c:v>31</c:v>
                </c:pt>
                <c:pt idx="554" formatCode="#,##0.00">
                  <c:v>29.58</c:v>
                </c:pt>
                <c:pt idx="555" formatCode="#,##0.00">
                  <c:v>30.38</c:v>
                </c:pt>
                <c:pt idx="556" formatCode="#,##0.00">
                  <c:v>34.21</c:v>
                </c:pt>
                <c:pt idx="557" formatCode="#,##0.00">
                  <c:v>29.15</c:v>
                </c:pt>
                <c:pt idx="558" formatCode="#,##0.00">
                  <c:v>29.72</c:v>
                </c:pt>
                <c:pt idx="559" formatCode="#,##0.00">
                  <c:v>21.1</c:v>
                </c:pt>
                <c:pt idx="560" formatCode="#,##0.00">
                  <c:v>28.59</c:v>
                </c:pt>
                <c:pt idx="563" formatCode="#,##0.00">
                  <c:v>29.78</c:v>
                </c:pt>
                <c:pt idx="564" formatCode="#,##0.00">
                  <c:v>32.619999999999997</c:v>
                </c:pt>
                <c:pt idx="565" formatCode="#,##0.00">
                  <c:v>33.979999999999997</c:v>
                </c:pt>
                <c:pt idx="566" formatCode="#,##0.00">
                  <c:v>32.729999999999997</c:v>
                </c:pt>
                <c:pt idx="567" formatCode="#,##0.00">
                  <c:v>30.42</c:v>
                </c:pt>
                <c:pt idx="568" formatCode="#,##0.00">
                  <c:v>33.72</c:v>
                </c:pt>
                <c:pt idx="569" formatCode="#,##0.00">
                  <c:v>31.27</c:v>
                </c:pt>
                <c:pt idx="570" formatCode="#,##0.00">
                  <c:v>30.56</c:v>
                </c:pt>
                <c:pt idx="571" formatCode="#,##0.00">
                  <c:v>34.67</c:v>
                </c:pt>
                <c:pt idx="572" formatCode="#,##0.00">
                  <c:v>31.8</c:v>
                </c:pt>
                <c:pt idx="573" formatCode="#,##0.00">
                  <c:v>31</c:v>
                </c:pt>
                <c:pt idx="574" formatCode="#,##0.00">
                  <c:v>32.6</c:v>
                </c:pt>
                <c:pt idx="575" formatCode="#,##0.00">
                  <c:v>32.82</c:v>
                </c:pt>
                <c:pt idx="576" formatCode="#,##0.00">
                  <c:v>35.72</c:v>
                </c:pt>
                <c:pt idx="577" formatCode="#,##0.00">
                  <c:v>33.22</c:v>
                </c:pt>
                <c:pt idx="578" formatCode="#,##0.00">
                  <c:v>33.090000000000003</c:v>
                </c:pt>
                <c:pt idx="579" formatCode="#,##0.00">
                  <c:v>34.700000000000003</c:v>
                </c:pt>
                <c:pt idx="580" formatCode="#,##0.00">
                  <c:v>34.700000000000003</c:v>
                </c:pt>
                <c:pt idx="581" formatCode="#,##0.00">
                  <c:v>21.73</c:v>
                </c:pt>
                <c:pt idx="582" formatCode="#,##0.00">
                  <c:v>31.56</c:v>
                </c:pt>
                <c:pt idx="583" formatCode="General">
                  <c:v>35.229999999999997</c:v>
                </c:pt>
                <c:pt idx="584" formatCode="General">
                  <c:v>32.950000000000003</c:v>
                </c:pt>
                <c:pt idx="585" formatCode="General">
                  <c:v>34.229999999999997</c:v>
                </c:pt>
                <c:pt idx="586" formatCode="General">
                  <c:v>34.57</c:v>
                </c:pt>
                <c:pt idx="587" formatCode="General">
                  <c:v>38.840000000000003</c:v>
                </c:pt>
                <c:pt idx="588" formatCode="General">
                  <c:v>36.03</c:v>
                </c:pt>
                <c:pt idx="589" formatCode="General">
                  <c:v>33.18</c:v>
                </c:pt>
                <c:pt idx="590" formatCode="General">
                  <c:v>32.47</c:v>
                </c:pt>
                <c:pt idx="591" formatCode="General">
                  <c:v>35.69</c:v>
                </c:pt>
                <c:pt idx="592" formatCode="General">
                  <c:v>31.54</c:v>
                </c:pt>
                <c:pt idx="593" formatCode="General">
                  <c:v>32.630000000000003</c:v>
                </c:pt>
                <c:pt idx="594" formatCode="General">
                  <c:v>32.18</c:v>
                </c:pt>
                <c:pt idx="595" formatCode="General">
                  <c:v>33.11</c:v>
                </c:pt>
                <c:pt idx="596" formatCode="General">
                  <c:v>32.369999999999997</c:v>
                </c:pt>
                <c:pt idx="597" formatCode="General">
                  <c:v>34.83</c:v>
                </c:pt>
                <c:pt idx="598" formatCode="General">
                  <c:v>33.01</c:v>
                </c:pt>
                <c:pt idx="599" formatCode="General">
                  <c:v>30.72</c:v>
                </c:pt>
                <c:pt idx="600" formatCode="General">
                  <c:v>31.6</c:v>
                </c:pt>
                <c:pt idx="601" formatCode="General">
                  <c:v>33.99</c:v>
                </c:pt>
                <c:pt idx="602" formatCode="General">
                  <c:v>31.38</c:v>
                </c:pt>
                <c:pt idx="603" formatCode="General">
                  <c:v>31.32</c:v>
                </c:pt>
                <c:pt idx="604" formatCode="General">
                  <c:v>30.96</c:v>
                </c:pt>
                <c:pt idx="605" formatCode="General">
                  <c:v>33.79</c:v>
                </c:pt>
                <c:pt idx="606" formatCode="General">
                  <c:v>31.59</c:v>
                </c:pt>
                <c:pt idx="607" formatCode="General">
                  <c:v>29.81</c:v>
                </c:pt>
                <c:pt idx="608" formatCode="General">
                  <c:v>32.369999999999997</c:v>
                </c:pt>
                <c:pt idx="609" formatCode="General">
                  <c:v>37.19</c:v>
                </c:pt>
                <c:pt idx="610" formatCode="General">
                  <c:v>30.46</c:v>
                </c:pt>
                <c:pt idx="611" formatCode="General">
                  <c:v>31.68</c:v>
                </c:pt>
                <c:pt idx="612" formatCode="General">
                  <c:v>33.33</c:v>
                </c:pt>
                <c:pt idx="613" formatCode="General">
                  <c:v>31.42</c:v>
                </c:pt>
                <c:pt idx="614" formatCode="General">
                  <c:v>33.549999999999997</c:v>
                </c:pt>
                <c:pt idx="615" formatCode="General">
                  <c:v>28.64</c:v>
                </c:pt>
                <c:pt idx="620" formatCode="General">
                  <c:v>33.770000000000003</c:v>
                </c:pt>
                <c:pt idx="621" formatCode="General">
                  <c:v>33.9</c:v>
                </c:pt>
                <c:pt idx="622" formatCode="General">
                  <c:v>34</c:v>
                </c:pt>
                <c:pt idx="623" formatCode="General">
                  <c:v>32.96</c:v>
                </c:pt>
                <c:pt idx="624" formatCode="General">
                  <c:v>35.86</c:v>
                </c:pt>
                <c:pt idx="625" formatCode="General">
                  <c:v>34.29</c:v>
                </c:pt>
                <c:pt idx="626" formatCode="General">
                  <c:v>35.619999999999997</c:v>
                </c:pt>
                <c:pt idx="627" formatCode="General">
                  <c:v>31.24</c:v>
                </c:pt>
                <c:pt idx="628" formatCode="General">
                  <c:v>33.049999999999997</c:v>
                </c:pt>
                <c:pt idx="629" formatCode="General">
                  <c:v>32.92</c:v>
                </c:pt>
                <c:pt idx="630" formatCode="General">
                  <c:v>32.72</c:v>
                </c:pt>
                <c:pt idx="631" formatCode="General">
                  <c:v>33.65</c:v>
                </c:pt>
                <c:pt idx="632" formatCode="General">
                  <c:v>32.75</c:v>
                </c:pt>
                <c:pt idx="633" formatCode="General">
                  <c:v>33.229999999999997</c:v>
                </c:pt>
                <c:pt idx="634" formatCode="General">
                  <c:v>32.15</c:v>
                </c:pt>
                <c:pt idx="635" formatCode="General">
                  <c:v>31.55</c:v>
                </c:pt>
                <c:pt idx="636" formatCode="General">
                  <c:v>33.01</c:v>
                </c:pt>
                <c:pt idx="637" formatCode="General">
                  <c:v>33.6</c:v>
                </c:pt>
                <c:pt idx="638" formatCode="General">
                  <c:v>29.93</c:v>
                </c:pt>
                <c:pt idx="639" formatCode="General">
                  <c:v>28.91</c:v>
                </c:pt>
                <c:pt idx="640" formatCode="General">
                  <c:v>30.68</c:v>
                </c:pt>
                <c:pt idx="641" formatCode="General">
                  <c:v>30.9</c:v>
                </c:pt>
                <c:pt idx="642" formatCode="General">
                  <c:v>29.5</c:v>
                </c:pt>
                <c:pt idx="643" formatCode="General">
                  <c:v>34.47</c:v>
                </c:pt>
                <c:pt idx="644" formatCode="General">
                  <c:v>30.01</c:v>
                </c:pt>
                <c:pt idx="645" formatCode="General">
                  <c:v>31.23</c:v>
                </c:pt>
                <c:pt idx="646" formatCode="General">
                  <c:v>33.549999999999997</c:v>
                </c:pt>
                <c:pt idx="647" formatCode="General">
                  <c:v>30.32</c:v>
                </c:pt>
                <c:pt idx="648" formatCode="General">
                  <c:v>30.61</c:v>
                </c:pt>
                <c:pt idx="649" formatCode="General">
                  <c:v>29.45</c:v>
                </c:pt>
                <c:pt idx="650" formatCode="General">
                  <c:v>27.35</c:v>
                </c:pt>
                <c:pt idx="651" formatCode="General">
                  <c:v>27.9</c:v>
                </c:pt>
                <c:pt idx="652" formatCode="General">
                  <c:v>26.97</c:v>
                </c:pt>
                <c:pt idx="653" formatCode="General">
                  <c:v>28.04</c:v>
                </c:pt>
                <c:pt idx="654" formatCode="General">
                  <c:v>26.14</c:v>
                </c:pt>
                <c:pt idx="655" formatCode="General">
                  <c:v>27.94</c:v>
                </c:pt>
                <c:pt idx="656" formatCode="General">
                  <c:v>27.34</c:v>
                </c:pt>
                <c:pt idx="657" formatCode="General">
                  <c:v>25.25</c:v>
                </c:pt>
                <c:pt idx="658" formatCode="General">
                  <c:v>33.11</c:v>
                </c:pt>
                <c:pt idx="659" formatCode="General">
                  <c:v>26.54</c:v>
                </c:pt>
                <c:pt idx="660" formatCode="General">
                  <c:v>28.49</c:v>
                </c:pt>
                <c:pt idx="661" formatCode="General">
                  <c:v>29.28</c:v>
                </c:pt>
                <c:pt idx="662" formatCode="General">
                  <c:v>29.15</c:v>
                </c:pt>
                <c:pt idx="663" formatCode="General">
                  <c:v>28.86</c:v>
                </c:pt>
                <c:pt idx="664" formatCode="General">
                  <c:v>29.81</c:v>
                </c:pt>
                <c:pt idx="665" formatCode="General">
                  <c:v>28.11</c:v>
                </c:pt>
                <c:pt idx="666" formatCode="General">
                  <c:v>30.58</c:v>
                </c:pt>
                <c:pt idx="667" formatCode="General">
                  <c:v>27.71</c:v>
                </c:pt>
                <c:pt idx="668" formatCode="General">
                  <c:v>31.72</c:v>
                </c:pt>
                <c:pt idx="669" formatCode="General">
                  <c:v>28.19</c:v>
                </c:pt>
                <c:pt idx="670" formatCode="General">
                  <c:v>31</c:v>
                </c:pt>
                <c:pt idx="671" formatCode="General">
                  <c:v>29.04</c:v>
                </c:pt>
                <c:pt idx="672" formatCode="General">
                  <c:v>31.35</c:v>
                </c:pt>
                <c:pt idx="673" formatCode="General">
                  <c:v>29.13</c:v>
                </c:pt>
                <c:pt idx="674" formatCode="General">
                  <c:v>28.92</c:v>
                </c:pt>
                <c:pt idx="675" formatCode="General">
                  <c:v>32.049999999999997</c:v>
                </c:pt>
                <c:pt idx="676" formatCode="General">
                  <c:v>29.2</c:v>
                </c:pt>
                <c:pt idx="677" formatCode="General">
                  <c:v>29.69</c:v>
                </c:pt>
                <c:pt idx="678" formatCode="General">
                  <c:v>31.53</c:v>
                </c:pt>
                <c:pt idx="679" formatCode="General">
                  <c:v>29.71</c:v>
                </c:pt>
                <c:pt idx="680" formatCode="General">
                  <c:v>33.9</c:v>
                </c:pt>
                <c:pt idx="681" formatCode="General">
                  <c:v>32.39</c:v>
                </c:pt>
                <c:pt idx="682" formatCode="General">
                  <c:v>29.67</c:v>
                </c:pt>
                <c:pt idx="683" formatCode="General">
                  <c:v>30.49</c:v>
                </c:pt>
                <c:pt idx="684" formatCode="General">
                  <c:v>32.78</c:v>
                </c:pt>
                <c:pt idx="685" formatCode="General">
                  <c:v>34.33</c:v>
                </c:pt>
                <c:pt idx="686" formatCode="General">
                  <c:v>30.25</c:v>
                </c:pt>
                <c:pt idx="687" formatCode="General">
                  <c:v>32.36</c:v>
                </c:pt>
                <c:pt idx="688" formatCode="General">
                  <c:v>31.13</c:v>
                </c:pt>
                <c:pt idx="689" formatCode="General">
                  <c:v>32.07</c:v>
                </c:pt>
                <c:pt idx="690" formatCode="General">
                  <c:v>30.72</c:v>
                </c:pt>
                <c:pt idx="691" formatCode="General">
                  <c:v>29.83</c:v>
                </c:pt>
                <c:pt idx="692" formatCode="General">
                  <c:v>29.41</c:v>
                </c:pt>
                <c:pt idx="693" formatCode="General">
                  <c:v>28.41</c:v>
                </c:pt>
                <c:pt idx="694" formatCode="General">
                  <c:v>25.08</c:v>
                </c:pt>
                <c:pt idx="695" formatCode="General">
                  <c:v>25.65</c:v>
                </c:pt>
                <c:pt idx="696" formatCode="General">
                  <c:v>25.27</c:v>
                </c:pt>
                <c:pt idx="697" formatCode="General">
                  <c:v>26.18</c:v>
                </c:pt>
                <c:pt idx="698" formatCode="General">
                  <c:v>27.06</c:v>
                </c:pt>
                <c:pt idx="699" formatCode="General">
                  <c:v>25.55</c:v>
                </c:pt>
                <c:pt idx="700" formatCode="General">
                  <c:v>26.8</c:v>
                </c:pt>
                <c:pt idx="701" formatCode="General">
                  <c:v>26.39</c:v>
                </c:pt>
                <c:pt idx="702" formatCode="General">
                  <c:v>26.85</c:v>
                </c:pt>
                <c:pt idx="703" formatCode="General">
                  <c:v>26.55</c:v>
                </c:pt>
                <c:pt idx="704" formatCode="General">
                  <c:v>31.15</c:v>
                </c:pt>
                <c:pt idx="705" formatCode="General">
                  <c:v>26.69</c:v>
                </c:pt>
                <c:pt idx="706" formatCode="General">
                  <c:v>27.03</c:v>
                </c:pt>
                <c:pt idx="707" formatCode="General">
                  <c:v>23.67</c:v>
                </c:pt>
                <c:pt idx="708" formatCode="General">
                  <c:v>25.75</c:v>
                </c:pt>
                <c:pt idx="709" formatCode="General">
                  <c:v>26.77</c:v>
                </c:pt>
                <c:pt idx="710" formatCode="General">
                  <c:v>27.81</c:v>
                </c:pt>
                <c:pt idx="711" formatCode="General">
                  <c:v>27.42</c:v>
                </c:pt>
                <c:pt idx="712" formatCode="General">
                  <c:v>30.05</c:v>
                </c:pt>
                <c:pt idx="713" formatCode="General">
                  <c:v>29.63</c:v>
                </c:pt>
                <c:pt idx="714" formatCode="General">
                  <c:v>29.38</c:v>
                </c:pt>
                <c:pt idx="715" formatCode="General">
                  <c:v>32.54</c:v>
                </c:pt>
                <c:pt idx="716" formatCode="General">
                  <c:v>27.24</c:v>
                </c:pt>
                <c:pt idx="717" formatCode="General">
                  <c:v>30.12</c:v>
                </c:pt>
                <c:pt idx="718" formatCode="General">
                  <c:v>26.1</c:v>
                </c:pt>
                <c:pt idx="719" formatCode="General">
                  <c:v>26.51</c:v>
                </c:pt>
                <c:pt idx="720" formatCode="General">
                  <c:v>27.77</c:v>
                </c:pt>
                <c:pt idx="721" formatCode="General">
                  <c:v>28.54</c:v>
                </c:pt>
                <c:pt idx="722" formatCode="General">
                  <c:v>30.04</c:v>
                </c:pt>
                <c:pt idx="723" formatCode="General">
                  <c:v>26.55</c:v>
                </c:pt>
                <c:pt idx="724" formatCode="General">
                  <c:v>29.36</c:v>
                </c:pt>
                <c:pt idx="725" formatCode="General">
                  <c:v>26.93</c:v>
                </c:pt>
                <c:pt idx="726" formatCode="General">
                  <c:v>32.81</c:v>
                </c:pt>
                <c:pt idx="727" formatCode="General">
                  <c:v>28.22</c:v>
                </c:pt>
                <c:pt idx="728" formatCode="General">
                  <c:v>28.39</c:v>
                </c:pt>
                <c:pt idx="729" formatCode="General">
                  <c:v>28.55</c:v>
                </c:pt>
                <c:pt idx="730" formatCode="General">
                  <c:v>26.87</c:v>
                </c:pt>
                <c:pt idx="731" formatCode="General">
                  <c:v>33.15</c:v>
                </c:pt>
                <c:pt idx="732" formatCode="General">
                  <c:v>30.16</c:v>
                </c:pt>
                <c:pt idx="733" formatCode="General">
                  <c:v>29.77</c:v>
                </c:pt>
                <c:pt idx="734" formatCode="General">
                  <c:v>31.24</c:v>
                </c:pt>
                <c:pt idx="735" formatCode="General">
                  <c:v>30.76</c:v>
                </c:pt>
                <c:pt idx="736" formatCode="General">
                  <c:v>32.82</c:v>
                </c:pt>
                <c:pt idx="737" formatCode="General">
                  <c:v>32.74</c:v>
                </c:pt>
                <c:pt idx="738" formatCode="General">
                  <c:v>28.58</c:v>
                </c:pt>
                <c:pt idx="739" formatCode="General">
                  <c:v>29.14</c:v>
                </c:pt>
                <c:pt idx="740" formatCode="General">
                  <c:v>29.07</c:v>
                </c:pt>
                <c:pt idx="741" formatCode="General">
                  <c:v>31.64</c:v>
                </c:pt>
                <c:pt idx="742" formatCode="General">
                  <c:v>30.02</c:v>
                </c:pt>
                <c:pt idx="743" formatCode="General">
                  <c:v>27.03</c:v>
                </c:pt>
                <c:pt idx="744" formatCode="General">
                  <c:v>29.88</c:v>
                </c:pt>
                <c:pt idx="745" formatCode="General">
                  <c:v>29.63</c:v>
                </c:pt>
                <c:pt idx="746" formatCode="General">
                  <c:v>27.85</c:v>
                </c:pt>
                <c:pt idx="747" formatCode="General">
                  <c:v>29.73</c:v>
                </c:pt>
                <c:pt idx="748" formatCode="General">
                  <c:v>27.97</c:v>
                </c:pt>
                <c:pt idx="750" formatCode="General">
                  <c:v>32.04</c:v>
                </c:pt>
                <c:pt idx="751" formatCode="General">
                  <c:v>29.15</c:v>
                </c:pt>
                <c:pt idx="752" formatCode="General">
                  <c:v>30.7</c:v>
                </c:pt>
                <c:pt idx="753" formatCode="General">
                  <c:v>32</c:v>
                </c:pt>
                <c:pt idx="754" formatCode="General">
                  <c:v>31.54</c:v>
                </c:pt>
                <c:pt idx="755" formatCode="General">
                  <c:v>31.25</c:v>
                </c:pt>
                <c:pt idx="756" formatCode="General">
                  <c:v>31.83</c:v>
                </c:pt>
                <c:pt idx="757" formatCode="General">
                  <c:v>29.23</c:v>
                </c:pt>
                <c:pt idx="758" formatCode="General">
                  <c:v>31.68</c:v>
                </c:pt>
                <c:pt idx="759" formatCode="General">
                  <c:v>30.26</c:v>
                </c:pt>
                <c:pt idx="760" formatCode="General">
                  <c:v>32.35</c:v>
                </c:pt>
                <c:pt idx="761" formatCode="General">
                  <c:v>31.32</c:v>
                </c:pt>
                <c:pt idx="762" formatCode="General">
                  <c:v>31.14</c:v>
                </c:pt>
                <c:pt idx="763" formatCode="General">
                  <c:v>32.79</c:v>
                </c:pt>
                <c:pt idx="764" formatCode="General">
                  <c:v>31.49</c:v>
                </c:pt>
                <c:pt idx="765" formatCode="General">
                  <c:v>36.75</c:v>
                </c:pt>
                <c:pt idx="766" formatCode="General">
                  <c:v>36.42</c:v>
                </c:pt>
                <c:pt idx="767" formatCode="General">
                  <c:v>34.03</c:v>
                </c:pt>
                <c:pt idx="768" formatCode="General">
                  <c:v>34.46</c:v>
                </c:pt>
                <c:pt idx="769" formatCode="General">
                  <c:v>37.9</c:v>
                </c:pt>
                <c:pt idx="770" formatCode="General">
                  <c:v>35.840000000000003</c:v>
                </c:pt>
                <c:pt idx="771" formatCode="General">
                  <c:v>35.61</c:v>
                </c:pt>
                <c:pt idx="772" formatCode="General">
                  <c:v>35.29</c:v>
                </c:pt>
                <c:pt idx="773" formatCode="General">
                  <c:v>35</c:v>
                </c:pt>
                <c:pt idx="774" formatCode="General">
                  <c:v>38.49</c:v>
                </c:pt>
                <c:pt idx="775" formatCode="General">
                  <c:v>36.79</c:v>
                </c:pt>
                <c:pt idx="776" formatCode="General">
                  <c:v>37.450000000000003</c:v>
                </c:pt>
                <c:pt idx="777" formatCode="General">
                  <c:v>37.97</c:v>
                </c:pt>
                <c:pt idx="778" formatCode="General">
                  <c:v>38.06</c:v>
                </c:pt>
                <c:pt idx="779" formatCode="General">
                  <c:v>36.200000000000003</c:v>
                </c:pt>
                <c:pt idx="780" formatCode="General">
                  <c:v>41.38</c:v>
                </c:pt>
                <c:pt idx="781" formatCode="General">
                  <c:v>33.25</c:v>
                </c:pt>
                <c:pt idx="782" formatCode="General">
                  <c:v>37.08</c:v>
                </c:pt>
                <c:pt idx="783" formatCode="General">
                  <c:v>31.65</c:v>
                </c:pt>
                <c:pt idx="784" formatCode="General">
                  <c:v>35.340000000000003</c:v>
                </c:pt>
                <c:pt idx="785" formatCode="General">
                  <c:v>35.479999999999997</c:v>
                </c:pt>
                <c:pt idx="786" formatCode="General">
                  <c:v>36.49</c:v>
                </c:pt>
                <c:pt idx="787" formatCode="General">
                  <c:v>34.049999999999997</c:v>
                </c:pt>
                <c:pt idx="788" formatCode="General">
                  <c:v>34.049999999999997</c:v>
                </c:pt>
                <c:pt idx="789" formatCode="General">
                  <c:v>35.32</c:v>
                </c:pt>
                <c:pt idx="790" formatCode="General">
                  <c:v>34.159999999999997</c:v>
                </c:pt>
                <c:pt idx="791" formatCode="General">
                  <c:v>35.380000000000003</c:v>
                </c:pt>
                <c:pt idx="792" formatCode="General">
                  <c:v>35.89</c:v>
                </c:pt>
                <c:pt idx="793" formatCode="General">
                  <c:v>39.090000000000003</c:v>
                </c:pt>
                <c:pt idx="794" formatCode="General">
                  <c:v>35.369999999999997</c:v>
                </c:pt>
                <c:pt idx="795" formatCode="General">
                  <c:v>35.21</c:v>
                </c:pt>
                <c:pt idx="796" formatCode="General">
                  <c:v>32.79</c:v>
                </c:pt>
                <c:pt idx="797" formatCode="General">
                  <c:v>35.6</c:v>
                </c:pt>
                <c:pt idx="798" formatCode="General">
                  <c:v>37.1</c:v>
                </c:pt>
                <c:pt idx="799" formatCode="General">
                  <c:v>35.61</c:v>
                </c:pt>
                <c:pt idx="800" formatCode="General">
                  <c:v>37.79</c:v>
                </c:pt>
                <c:pt idx="801" formatCode="General">
                  <c:v>34.659999999999997</c:v>
                </c:pt>
              </c:numCache>
            </c:numRef>
          </c:val>
          <c:smooth val="0"/>
          <c:extLst>
            <c:ext xmlns:c16="http://schemas.microsoft.com/office/drawing/2014/chart" uri="{C3380CC4-5D6E-409C-BE32-E72D297353CC}">
              <c16:uniqueId val="{00000000-B922-4BC6-8025-3E5EAD56BD5A}"/>
            </c:ext>
          </c:extLst>
        </c:ser>
        <c:dLbls>
          <c:showLegendKey val="0"/>
          <c:showVal val="0"/>
          <c:showCatName val="0"/>
          <c:showSerName val="0"/>
          <c:showPercent val="0"/>
          <c:showBubbleSize val="0"/>
        </c:dLbls>
        <c:smooth val="0"/>
        <c:axId val="1221611583"/>
        <c:axId val="1"/>
      </c:lineChart>
      <c:catAx>
        <c:axId val="1221611583"/>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1611583"/>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Heifers in calf</a:t>
            </a:r>
          </a:p>
        </c:rich>
      </c:tx>
      <c:overlay val="0"/>
    </c:title>
    <c:autoTitleDeleted val="0"/>
    <c:plotArea>
      <c:layout/>
      <c:lineChart>
        <c:grouping val="standard"/>
        <c:varyColors val="0"/>
        <c:ser>
          <c:idx val="6"/>
          <c:order val="0"/>
          <c:tx>
            <c:strRef>
              <c:f>Summary!$K$3</c:f>
              <c:strCache>
                <c:ptCount val="1"/>
                <c:pt idx="0">
                  <c:v>Heifers in Calf</c:v>
                </c:pt>
              </c:strCache>
            </c:strRef>
          </c:tx>
          <c:spPr>
            <a:ln w="12700">
              <a:solidFill>
                <a:schemeClr val="tx1"/>
              </a:solidFill>
            </a:ln>
          </c:spPr>
          <c:marker>
            <c:symbol val="none"/>
          </c:marker>
          <c:cat>
            <c:numRef>
              <c:f>Summary!$B$4:$B$806</c:f>
              <c:numCache>
                <c:formatCode>General</c:formatCode>
                <c:ptCount val="803"/>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K$4:$K$810</c:f>
              <c:numCache>
                <c:formatCode>0.00</c:formatCode>
                <c:ptCount val="807"/>
                <c:pt idx="0">
                  <c:v>12.73</c:v>
                </c:pt>
                <c:pt idx="1">
                  <c:v>8.83</c:v>
                </c:pt>
                <c:pt idx="3">
                  <c:v>13.33</c:v>
                </c:pt>
                <c:pt idx="5">
                  <c:v>10.5</c:v>
                </c:pt>
                <c:pt idx="7">
                  <c:v>11.45</c:v>
                </c:pt>
                <c:pt idx="8">
                  <c:v>15.89</c:v>
                </c:pt>
                <c:pt idx="10">
                  <c:v>14.15</c:v>
                </c:pt>
                <c:pt idx="13">
                  <c:v>14.11</c:v>
                </c:pt>
                <c:pt idx="15">
                  <c:v>15.31</c:v>
                </c:pt>
                <c:pt idx="16">
                  <c:v>13.87</c:v>
                </c:pt>
                <c:pt idx="20">
                  <c:v>15.76</c:v>
                </c:pt>
                <c:pt idx="21">
                  <c:v>11.76</c:v>
                </c:pt>
                <c:pt idx="24">
                  <c:v>10</c:v>
                </c:pt>
                <c:pt idx="31">
                  <c:v>12.34</c:v>
                </c:pt>
                <c:pt idx="33">
                  <c:v>12.12</c:v>
                </c:pt>
                <c:pt idx="36">
                  <c:v>13.4</c:v>
                </c:pt>
                <c:pt idx="38">
                  <c:v>12.34</c:v>
                </c:pt>
                <c:pt idx="43">
                  <c:v>15.46</c:v>
                </c:pt>
                <c:pt idx="45">
                  <c:v>15.78</c:v>
                </c:pt>
                <c:pt idx="47">
                  <c:v>19.05</c:v>
                </c:pt>
                <c:pt idx="48">
                  <c:v>13.76</c:v>
                </c:pt>
                <c:pt idx="49">
                  <c:v>12.85</c:v>
                </c:pt>
                <c:pt idx="51">
                  <c:v>14.71</c:v>
                </c:pt>
                <c:pt idx="52">
                  <c:v>14.67</c:v>
                </c:pt>
                <c:pt idx="53">
                  <c:v>14.11</c:v>
                </c:pt>
                <c:pt idx="54">
                  <c:v>18.09</c:v>
                </c:pt>
                <c:pt idx="56">
                  <c:v>12.66</c:v>
                </c:pt>
                <c:pt idx="61">
                  <c:v>16.45</c:v>
                </c:pt>
                <c:pt idx="64">
                  <c:v>12.38</c:v>
                </c:pt>
                <c:pt idx="66">
                  <c:v>14.17</c:v>
                </c:pt>
                <c:pt idx="70">
                  <c:v>15.23</c:v>
                </c:pt>
                <c:pt idx="75">
                  <c:v>22.06</c:v>
                </c:pt>
                <c:pt idx="76">
                  <c:v>22.06</c:v>
                </c:pt>
                <c:pt idx="79">
                  <c:v>17.3</c:v>
                </c:pt>
                <c:pt idx="81">
                  <c:v>13.61</c:v>
                </c:pt>
                <c:pt idx="88">
                  <c:v>16.73</c:v>
                </c:pt>
                <c:pt idx="95">
                  <c:v>18.03</c:v>
                </c:pt>
                <c:pt idx="97">
                  <c:v>11.76</c:v>
                </c:pt>
                <c:pt idx="109" formatCode="General">
                  <c:v>14.96</c:v>
                </c:pt>
                <c:pt idx="112" formatCode="General">
                  <c:v>12.1</c:v>
                </c:pt>
                <c:pt idx="117" formatCode="General">
                  <c:v>12.24</c:v>
                </c:pt>
                <c:pt idx="122" formatCode="General">
                  <c:v>19.34</c:v>
                </c:pt>
                <c:pt idx="127" formatCode="General">
                  <c:v>14.04</c:v>
                </c:pt>
                <c:pt idx="134">
                  <c:v>15.38</c:v>
                </c:pt>
                <c:pt idx="141">
                  <c:v>17.79</c:v>
                </c:pt>
                <c:pt idx="144">
                  <c:v>15.44</c:v>
                </c:pt>
                <c:pt idx="148">
                  <c:v>11.17</c:v>
                </c:pt>
                <c:pt idx="151">
                  <c:v>12.75</c:v>
                </c:pt>
                <c:pt idx="163" formatCode="General">
                  <c:v>13.49</c:v>
                </c:pt>
                <c:pt idx="175">
                  <c:v>7.03</c:v>
                </c:pt>
                <c:pt idx="185">
                  <c:v>14.86</c:v>
                </c:pt>
                <c:pt idx="187">
                  <c:v>17.09</c:v>
                </c:pt>
                <c:pt idx="191">
                  <c:v>13.23</c:v>
                </c:pt>
                <c:pt idx="201" formatCode="#,##0.00">
                  <c:v>15.45</c:v>
                </c:pt>
                <c:pt idx="204" formatCode="#,##0.00">
                  <c:v>11.94</c:v>
                </c:pt>
                <c:pt idx="211" formatCode="#,##0.00">
                  <c:v>12.53</c:v>
                </c:pt>
                <c:pt idx="222" formatCode="#,##0.00">
                  <c:v>19.690000000000001</c:v>
                </c:pt>
                <c:pt idx="226" formatCode="#,##0.00">
                  <c:v>18.54</c:v>
                </c:pt>
                <c:pt idx="228" formatCode="#,##0.00">
                  <c:v>10.68</c:v>
                </c:pt>
                <c:pt idx="231" formatCode="#,##0.00">
                  <c:v>14.87</c:v>
                </c:pt>
                <c:pt idx="237" formatCode="#,##0.00">
                  <c:v>16.46</c:v>
                </c:pt>
                <c:pt idx="239" formatCode="#,##0.00">
                  <c:v>15.35</c:v>
                </c:pt>
                <c:pt idx="240" formatCode="#,##0.00">
                  <c:v>22.4</c:v>
                </c:pt>
                <c:pt idx="260" formatCode="#,##0.00">
                  <c:v>15.42</c:v>
                </c:pt>
                <c:pt idx="264" formatCode="#,##0.00">
                  <c:v>17.96</c:v>
                </c:pt>
                <c:pt idx="269" formatCode="#,##0.00">
                  <c:v>24.26</c:v>
                </c:pt>
                <c:pt idx="270" formatCode="#,##0.00">
                  <c:v>13.57</c:v>
                </c:pt>
                <c:pt idx="271" formatCode="#,##0.00">
                  <c:v>16.89</c:v>
                </c:pt>
                <c:pt idx="274" formatCode="#,##0.00">
                  <c:v>18.920000000000002</c:v>
                </c:pt>
                <c:pt idx="285" formatCode="#,##0.00">
                  <c:v>19.53</c:v>
                </c:pt>
                <c:pt idx="287" formatCode="#,##0.00">
                  <c:v>17.14</c:v>
                </c:pt>
                <c:pt idx="288" formatCode="#,##0.00">
                  <c:v>16.64</c:v>
                </c:pt>
                <c:pt idx="289" formatCode="#,##0.00">
                  <c:v>13.91</c:v>
                </c:pt>
                <c:pt idx="290" formatCode="#,##0.00">
                  <c:v>15.74</c:v>
                </c:pt>
                <c:pt idx="306" formatCode="#,##0.00">
                  <c:v>15.86</c:v>
                </c:pt>
                <c:pt idx="308" formatCode="#,##0.00">
                  <c:v>19.829999999999998</c:v>
                </c:pt>
                <c:pt idx="315" formatCode="#,##0.00">
                  <c:v>23.07</c:v>
                </c:pt>
                <c:pt idx="316" formatCode="#,##0.00">
                  <c:v>19.149999999999999</c:v>
                </c:pt>
                <c:pt idx="317" formatCode="#,##0.00">
                  <c:v>15.88</c:v>
                </c:pt>
                <c:pt idx="321" formatCode="#,##0.00">
                  <c:v>18.18</c:v>
                </c:pt>
                <c:pt idx="327" formatCode="#,##0.00">
                  <c:v>14.6</c:v>
                </c:pt>
                <c:pt idx="332" formatCode="#,##0.00">
                  <c:v>28.57</c:v>
                </c:pt>
                <c:pt idx="335" formatCode="#,##0.00">
                  <c:v>20.329999999999998</c:v>
                </c:pt>
                <c:pt idx="338" formatCode="#,##0.00">
                  <c:v>19.27</c:v>
                </c:pt>
                <c:pt idx="340" formatCode="#,##0.00">
                  <c:v>20.12</c:v>
                </c:pt>
                <c:pt idx="342" formatCode="#,##0.00">
                  <c:v>17.77</c:v>
                </c:pt>
                <c:pt idx="346" formatCode="#,##0.00">
                  <c:v>15.88</c:v>
                </c:pt>
                <c:pt idx="347" formatCode="#,##0.00">
                  <c:v>24.41</c:v>
                </c:pt>
                <c:pt idx="356" formatCode="#,##0.00">
                  <c:v>11.65</c:v>
                </c:pt>
                <c:pt idx="357" formatCode="#,##0.00">
                  <c:v>21.43</c:v>
                </c:pt>
                <c:pt idx="359" formatCode="#,##0.00">
                  <c:v>20</c:v>
                </c:pt>
                <c:pt idx="372" formatCode="#,##0.00">
                  <c:v>24.44</c:v>
                </c:pt>
                <c:pt idx="375" formatCode="#,##0.00">
                  <c:v>28.13</c:v>
                </c:pt>
                <c:pt idx="382" formatCode="#,##0.00">
                  <c:v>28.15</c:v>
                </c:pt>
                <c:pt idx="384" formatCode="#,##0.00">
                  <c:v>39.58</c:v>
                </c:pt>
                <c:pt idx="394" formatCode="#,##0.00">
                  <c:v>38.33</c:v>
                </c:pt>
                <c:pt idx="395" formatCode="#,##0.00">
                  <c:v>37.14</c:v>
                </c:pt>
                <c:pt idx="397" formatCode="#,##0.00">
                  <c:v>38.75</c:v>
                </c:pt>
                <c:pt idx="398" formatCode="#,##0.00">
                  <c:v>38.159999999999997</c:v>
                </c:pt>
                <c:pt idx="400" formatCode="#,##0.00">
                  <c:v>32.39</c:v>
                </c:pt>
                <c:pt idx="408" formatCode="#,##0.00">
                  <c:v>21.87</c:v>
                </c:pt>
                <c:pt idx="414" formatCode="#,##0.00">
                  <c:v>29.02</c:v>
                </c:pt>
                <c:pt idx="416" formatCode="#,##0.00">
                  <c:v>22.37</c:v>
                </c:pt>
                <c:pt idx="423" formatCode="#,##0.00">
                  <c:v>35.46</c:v>
                </c:pt>
                <c:pt idx="424" formatCode="#,##0.00">
                  <c:v>21.1</c:v>
                </c:pt>
                <c:pt idx="430" formatCode="#,##0.00">
                  <c:v>25.15</c:v>
                </c:pt>
                <c:pt idx="434" formatCode="#,##0.00">
                  <c:v>34.409999999999997</c:v>
                </c:pt>
                <c:pt idx="436" formatCode="#,##0.00">
                  <c:v>26.09</c:v>
                </c:pt>
                <c:pt idx="450" formatCode="#,##0.00">
                  <c:v>28.24</c:v>
                </c:pt>
                <c:pt idx="451" formatCode="#,##0.00">
                  <c:v>23.58</c:v>
                </c:pt>
                <c:pt idx="455" formatCode="#,##0.00">
                  <c:v>23.41</c:v>
                </c:pt>
                <c:pt idx="456" formatCode="#,##0.00">
                  <c:v>25.31</c:v>
                </c:pt>
                <c:pt idx="459" formatCode="#,##0.00">
                  <c:v>21.27</c:v>
                </c:pt>
                <c:pt idx="460" formatCode="#,##0.00">
                  <c:v>42.95</c:v>
                </c:pt>
                <c:pt idx="466" formatCode="#,##0.00">
                  <c:v>18.559999999999999</c:v>
                </c:pt>
                <c:pt idx="479" formatCode="General">
                  <c:v>21.52</c:v>
                </c:pt>
                <c:pt idx="482" formatCode="General">
                  <c:v>34.979999999999997</c:v>
                </c:pt>
                <c:pt idx="498" formatCode="General">
                  <c:v>32.409999999999997</c:v>
                </c:pt>
                <c:pt idx="510" formatCode="General">
                  <c:v>22.35</c:v>
                </c:pt>
                <c:pt idx="511" formatCode="General">
                  <c:v>34.76</c:v>
                </c:pt>
                <c:pt idx="514" formatCode="General">
                  <c:v>24.19</c:v>
                </c:pt>
                <c:pt idx="516" formatCode="General">
                  <c:v>25.48</c:v>
                </c:pt>
                <c:pt idx="517" formatCode="General">
                  <c:v>21.75</c:v>
                </c:pt>
                <c:pt idx="521" formatCode="General">
                  <c:v>36.1</c:v>
                </c:pt>
                <c:pt idx="522" formatCode="General">
                  <c:v>29.54</c:v>
                </c:pt>
                <c:pt idx="526" formatCode="General">
                  <c:v>18.350000000000001</c:v>
                </c:pt>
                <c:pt idx="531" formatCode="General">
                  <c:v>24.38</c:v>
                </c:pt>
                <c:pt idx="532" formatCode="General">
                  <c:v>22.54</c:v>
                </c:pt>
                <c:pt idx="534" formatCode="General">
                  <c:v>24.37</c:v>
                </c:pt>
                <c:pt idx="537" formatCode="General">
                  <c:v>27.64</c:v>
                </c:pt>
                <c:pt idx="539" formatCode="General">
                  <c:v>27.64</c:v>
                </c:pt>
                <c:pt idx="543" formatCode="General">
                  <c:v>24.63</c:v>
                </c:pt>
                <c:pt idx="545" formatCode="General">
                  <c:v>23.11</c:v>
                </c:pt>
                <c:pt idx="546" formatCode="General">
                  <c:v>22.51</c:v>
                </c:pt>
                <c:pt idx="547" formatCode="General">
                  <c:v>26.13</c:v>
                </c:pt>
                <c:pt idx="550" formatCode="General">
                  <c:v>27.53</c:v>
                </c:pt>
                <c:pt idx="551" formatCode="General">
                  <c:v>29.33</c:v>
                </c:pt>
                <c:pt idx="555" formatCode="#,##0.00">
                  <c:v>26.67</c:v>
                </c:pt>
                <c:pt idx="556" formatCode="#,##0.00">
                  <c:v>38.18</c:v>
                </c:pt>
                <c:pt idx="557" formatCode="#,##0.00">
                  <c:v>39.49</c:v>
                </c:pt>
                <c:pt idx="564" formatCode="#,##0.00">
                  <c:v>29.41</c:v>
                </c:pt>
                <c:pt idx="575" formatCode="#,##0.00">
                  <c:v>36.01</c:v>
                </c:pt>
                <c:pt idx="581" formatCode="#,##0.00">
                  <c:v>34.630000000000003</c:v>
                </c:pt>
                <c:pt idx="586" formatCode="General">
                  <c:v>33.880000000000003</c:v>
                </c:pt>
                <c:pt idx="587" formatCode="General">
                  <c:v>34.72</c:v>
                </c:pt>
                <c:pt idx="591" formatCode="General">
                  <c:v>53.66</c:v>
                </c:pt>
                <c:pt idx="594" formatCode="General">
                  <c:v>45.09</c:v>
                </c:pt>
                <c:pt idx="603" formatCode="General">
                  <c:v>40.53</c:v>
                </c:pt>
                <c:pt idx="607" formatCode="General">
                  <c:v>29.32</c:v>
                </c:pt>
                <c:pt idx="612" formatCode="General">
                  <c:v>40.159999999999997</c:v>
                </c:pt>
                <c:pt idx="613" formatCode="General">
                  <c:v>27.53</c:v>
                </c:pt>
                <c:pt idx="615" formatCode="General">
                  <c:v>31.67</c:v>
                </c:pt>
                <c:pt idx="623" formatCode="General">
                  <c:v>29.67</c:v>
                </c:pt>
                <c:pt idx="628" formatCode="General">
                  <c:v>40</c:v>
                </c:pt>
                <c:pt idx="632" formatCode="General">
                  <c:v>27.91</c:v>
                </c:pt>
                <c:pt idx="637" formatCode="General">
                  <c:v>34.92</c:v>
                </c:pt>
                <c:pt idx="638" formatCode="General">
                  <c:v>30.86</c:v>
                </c:pt>
                <c:pt idx="640" formatCode="General">
                  <c:v>30.99</c:v>
                </c:pt>
                <c:pt idx="644" formatCode="General">
                  <c:v>28.96</c:v>
                </c:pt>
                <c:pt idx="645" formatCode="General">
                  <c:v>35.44</c:v>
                </c:pt>
                <c:pt idx="651" formatCode="General">
                  <c:v>25.19</c:v>
                </c:pt>
                <c:pt idx="655" formatCode="General">
                  <c:v>37.19</c:v>
                </c:pt>
                <c:pt idx="656" formatCode="General">
                  <c:v>25.16</c:v>
                </c:pt>
                <c:pt idx="658" formatCode="General">
                  <c:v>26.67</c:v>
                </c:pt>
                <c:pt idx="659" formatCode="General">
                  <c:v>32.5</c:v>
                </c:pt>
                <c:pt idx="664" formatCode="General">
                  <c:v>32.46</c:v>
                </c:pt>
                <c:pt idx="667" formatCode="General">
                  <c:v>25.25</c:v>
                </c:pt>
                <c:pt idx="669" formatCode="General">
                  <c:v>30.05</c:v>
                </c:pt>
                <c:pt idx="673" formatCode="General">
                  <c:v>33.78</c:v>
                </c:pt>
                <c:pt idx="674" formatCode="General">
                  <c:v>31.89</c:v>
                </c:pt>
                <c:pt idx="675" formatCode="General">
                  <c:v>31.89</c:v>
                </c:pt>
                <c:pt idx="686" formatCode="General">
                  <c:v>37.270000000000003</c:v>
                </c:pt>
                <c:pt idx="687" formatCode="General">
                  <c:v>28.13</c:v>
                </c:pt>
                <c:pt idx="689" formatCode="General">
                  <c:v>32.33</c:v>
                </c:pt>
                <c:pt idx="691" formatCode="General">
                  <c:v>26.61</c:v>
                </c:pt>
                <c:pt idx="692" formatCode="General">
                  <c:v>31.53</c:v>
                </c:pt>
                <c:pt idx="701" formatCode="General">
                  <c:v>28.71</c:v>
                </c:pt>
                <c:pt idx="703" formatCode="General">
                  <c:v>26.11</c:v>
                </c:pt>
                <c:pt idx="704" formatCode="General">
                  <c:v>28.77</c:v>
                </c:pt>
                <c:pt idx="705" formatCode="General">
                  <c:v>33.71</c:v>
                </c:pt>
                <c:pt idx="707" formatCode="General">
                  <c:v>27.16</c:v>
                </c:pt>
                <c:pt idx="711" formatCode="General">
                  <c:v>25.83</c:v>
                </c:pt>
                <c:pt idx="723" formatCode="General">
                  <c:v>35.42</c:v>
                </c:pt>
                <c:pt idx="724" formatCode="General">
                  <c:v>26.51</c:v>
                </c:pt>
                <c:pt idx="725" formatCode="General">
                  <c:v>31.6</c:v>
                </c:pt>
                <c:pt idx="732" formatCode="General">
                  <c:v>25.23</c:v>
                </c:pt>
                <c:pt idx="735" formatCode="General">
                  <c:v>36.409999999999997</c:v>
                </c:pt>
                <c:pt idx="747" formatCode="General">
                  <c:v>31.48</c:v>
                </c:pt>
                <c:pt idx="750" formatCode="General">
                  <c:v>27.54</c:v>
                </c:pt>
                <c:pt idx="751" formatCode="General">
                  <c:v>30.43</c:v>
                </c:pt>
                <c:pt idx="758" formatCode="General">
                  <c:v>27.46</c:v>
                </c:pt>
                <c:pt idx="759" formatCode="General">
                  <c:v>25.8</c:v>
                </c:pt>
                <c:pt idx="767" formatCode="General">
                  <c:v>33.17</c:v>
                </c:pt>
                <c:pt idx="768" formatCode="General">
                  <c:v>35.89</c:v>
                </c:pt>
                <c:pt idx="773" formatCode="General">
                  <c:v>32.020000000000003</c:v>
                </c:pt>
                <c:pt idx="776" formatCode="General">
                  <c:v>31.25</c:v>
                </c:pt>
                <c:pt idx="777" formatCode="General">
                  <c:v>35.659999999999997</c:v>
                </c:pt>
                <c:pt idx="779" formatCode="General">
                  <c:v>36.67</c:v>
                </c:pt>
                <c:pt idx="780" formatCode="General">
                  <c:v>45.16</c:v>
                </c:pt>
                <c:pt idx="783" formatCode="General">
                  <c:v>33.42</c:v>
                </c:pt>
                <c:pt idx="785" formatCode="General">
                  <c:v>29.64</c:v>
                </c:pt>
                <c:pt idx="793" formatCode="General">
                  <c:v>26.12</c:v>
                </c:pt>
                <c:pt idx="795" formatCode="General">
                  <c:v>34.57</c:v>
                </c:pt>
                <c:pt idx="796" formatCode="General">
                  <c:v>37.99</c:v>
                </c:pt>
                <c:pt idx="797" formatCode="General">
                  <c:v>36.630000000000003</c:v>
                </c:pt>
                <c:pt idx="799" formatCode="General">
                  <c:v>37.61</c:v>
                </c:pt>
                <c:pt idx="800" formatCode="General">
                  <c:v>36.11</c:v>
                </c:pt>
              </c:numCache>
            </c:numRef>
          </c:val>
          <c:smooth val="0"/>
          <c:extLst>
            <c:ext xmlns:c16="http://schemas.microsoft.com/office/drawing/2014/chart" uri="{C3380CC4-5D6E-409C-BE32-E72D297353CC}">
              <c16:uniqueId val="{00000000-FB9C-48FE-B055-73BB7F1B009A}"/>
            </c:ext>
          </c:extLst>
        </c:ser>
        <c:dLbls>
          <c:showLegendKey val="0"/>
          <c:showVal val="0"/>
          <c:showCatName val="0"/>
          <c:showSerName val="0"/>
          <c:showPercent val="0"/>
          <c:showBubbleSize val="0"/>
        </c:dLbls>
        <c:smooth val="0"/>
        <c:axId val="1221606783"/>
        <c:axId val="1"/>
      </c:lineChart>
      <c:catAx>
        <c:axId val="1221606783"/>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spPr>
            <a:ln w="12700"/>
          </c:spPr>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1606783"/>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Tollies/Bull calves &lt;200kg</a:t>
            </a:r>
          </a:p>
        </c:rich>
      </c:tx>
      <c:overlay val="0"/>
    </c:title>
    <c:autoTitleDeleted val="0"/>
    <c:plotArea>
      <c:layout/>
      <c:lineChart>
        <c:grouping val="standard"/>
        <c:varyColors val="0"/>
        <c:ser>
          <c:idx val="6"/>
          <c:order val="0"/>
          <c:tx>
            <c:strRef>
              <c:f>Summary!$C$3</c:f>
              <c:strCache>
                <c:ptCount val="1"/>
                <c:pt idx="0">
                  <c:v>Tollies/Bull calves&lt;200kg</c:v>
                </c:pt>
              </c:strCache>
            </c:strRef>
          </c:tx>
          <c:spPr>
            <a:ln w="12700">
              <a:solidFill>
                <a:schemeClr val="tx1"/>
              </a:solidFill>
            </a:ln>
          </c:spPr>
          <c:marker>
            <c:symbol val="none"/>
          </c:marker>
          <c:cat>
            <c:numRef>
              <c:f>Summary!$B$4:$B$803</c:f>
              <c:numCache>
                <c:formatCode>General</c:formatCode>
                <c:ptCount val="800"/>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C$4:$C$810</c:f>
              <c:numCache>
                <c:formatCode>0.00</c:formatCode>
                <c:ptCount val="807"/>
                <c:pt idx="0">
                  <c:v>16.88</c:v>
                </c:pt>
                <c:pt idx="1">
                  <c:v>16.59</c:v>
                </c:pt>
                <c:pt idx="2">
                  <c:v>16.57</c:v>
                </c:pt>
                <c:pt idx="3">
                  <c:v>15.76</c:v>
                </c:pt>
                <c:pt idx="4">
                  <c:v>15.83</c:v>
                </c:pt>
                <c:pt idx="5">
                  <c:v>15.98</c:v>
                </c:pt>
                <c:pt idx="6">
                  <c:v>15.98</c:v>
                </c:pt>
                <c:pt idx="7">
                  <c:v>15.78</c:v>
                </c:pt>
                <c:pt idx="8">
                  <c:v>15.32</c:v>
                </c:pt>
                <c:pt idx="9">
                  <c:v>15.82</c:v>
                </c:pt>
                <c:pt idx="10">
                  <c:v>15.72</c:v>
                </c:pt>
                <c:pt idx="11">
                  <c:v>15.66</c:v>
                </c:pt>
                <c:pt idx="12">
                  <c:v>15.91</c:v>
                </c:pt>
                <c:pt idx="13">
                  <c:v>15.98</c:v>
                </c:pt>
                <c:pt idx="14">
                  <c:v>15.81</c:v>
                </c:pt>
                <c:pt idx="15">
                  <c:v>15.88</c:v>
                </c:pt>
                <c:pt idx="16">
                  <c:v>16.25</c:v>
                </c:pt>
                <c:pt idx="17">
                  <c:v>15.62</c:v>
                </c:pt>
                <c:pt idx="18">
                  <c:v>16.09</c:v>
                </c:pt>
                <c:pt idx="19">
                  <c:v>16.03</c:v>
                </c:pt>
                <c:pt idx="20">
                  <c:v>16.28</c:v>
                </c:pt>
                <c:pt idx="21">
                  <c:v>16.079999999999998</c:v>
                </c:pt>
                <c:pt idx="22">
                  <c:v>16.420000000000002</c:v>
                </c:pt>
                <c:pt idx="23">
                  <c:v>15.56</c:v>
                </c:pt>
                <c:pt idx="24">
                  <c:v>15.78</c:v>
                </c:pt>
                <c:pt idx="25">
                  <c:v>16.05</c:v>
                </c:pt>
                <c:pt idx="26">
                  <c:v>15.65</c:v>
                </c:pt>
                <c:pt idx="27">
                  <c:v>16.03</c:v>
                </c:pt>
                <c:pt idx="28">
                  <c:v>15.79</c:v>
                </c:pt>
                <c:pt idx="29">
                  <c:v>15.58</c:v>
                </c:pt>
                <c:pt idx="30">
                  <c:v>16.09</c:v>
                </c:pt>
                <c:pt idx="31">
                  <c:v>16.45</c:v>
                </c:pt>
                <c:pt idx="32">
                  <c:v>16.75</c:v>
                </c:pt>
                <c:pt idx="33">
                  <c:v>16.559999999999999</c:v>
                </c:pt>
                <c:pt idx="34">
                  <c:v>16.690000000000001</c:v>
                </c:pt>
                <c:pt idx="35">
                  <c:v>16.66</c:v>
                </c:pt>
                <c:pt idx="36">
                  <c:v>16.309999999999999</c:v>
                </c:pt>
                <c:pt idx="37">
                  <c:v>16.45</c:v>
                </c:pt>
                <c:pt idx="38">
                  <c:v>16.850000000000001</c:v>
                </c:pt>
                <c:pt idx="39">
                  <c:v>16.399999999999999</c:v>
                </c:pt>
                <c:pt idx="40">
                  <c:v>16.829999999999998</c:v>
                </c:pt>
                <c:pt idx="41">
                  <c:v>17.260000000000002</c:v>
                </c:pt>
                <c:pt idx="42">
                  <c:v>17.059999999999999</c:v>
                </c:pt>
                <c:pt idx="43">
                  <c:v>17.670000000000002</c:v>
                </c:pt>
                <c:pt idx="44">
                  <c:v>17.86</c:v>
                </c:pt>
                <c:pt idx="45">
                  <c:v>18.75</c:v>
                </c:pt>
                <c:pt idx="46">
                  <c:v>19.149999999999999</c:v>
                </c:pt>
                <c:pt idx="47">
                  <c:v>18.89</c:v>
                </c:pt>
                <c:pt idx="48">
                  <c:v>19.46</c:v>
                </c:pt>
                <c:pt idx="49">
                  <c:v>19.989999999999998</c:v>
                </c:pt>
                <c:pt idx="50">
                  <c:v>20.260000000000002</c:v>
                </c:pt>
                <c:pt idx="51">
                  <c:v>19.66</c:v>
                </c:pt>
                <c:pt idx="52">
                  <c:v>18.95</c:v>
                </c:pt>
                <c:pt idx="53">
                  <c:v>18.57</c:v>
                </c:pt>
                <c:pt idx="54">
                  <c:v>18.84</c:v>
                </c:pt>
                <c:pt idx="55">
                  <c:v>18.16</c:v>
                </c:pt>
                <c:pt idx="56">
                  <c:v>17.32</c:v>
                </c:pt>
                <c:pt idx="57">
                  <c:v>18.100000000000001</c:v>
                </c:pt>
                <c:pt idx="58">
                  <c:v>18.16</c:v>
                </c:pt>
                <c:pt idx="59">
                  <c:v>18.34</c:v>
                </c:pt>
                <c:pt idx="60">
                  <c:v>18.78</c:v>
                </c:pt>
                <c:pt idx="61">
                  <c:v>18.71</c:v>
                </c:pt>
                <c:pt idx="62">
                  <c:v>18.82</c:v>
                </c:pt>
                <c:pt idx="63">
                  <c:v>18.489999999999998</c:v>
                </c:pt>
                <c:pt idx="64">
                  <c:v>18.59</c:v>
                </c:pt>
                <c:pt idx="65">
                  <c:v>18.350000000000001</c:v>
                </c:pt>
                <c:pt idx="66">
                  <c:v>18.2</c:v>
                </c:pt>
                <c:pt idx="67">
                  <c:v>18.05</c:v>
                </c:pt>
                <c:pt idx="68">
                  <c:v>18.59</c:v>
                </c:pt>
                <c:pt idx="69">
                  <c:v>18.100000000000001</c:v>
                </c:pt>
                <c:pt idx="70">
                  <c:v>18.57</c:v>
                </c:pt>
                <c:pt idx="71">
                  <c:v>19.27</c:v>
                </c:pt>
                <c:pt idx="72">
                  <c:v>18.920000000000002</c:v>
                </c:pt>
                <c:pt idx="73">
                  <c:v>20.260000000000002</c:v>
                </c:pt>
                <c:pt idx="74">
                  <c:v>21.27</c:v>
                </c:pt>
                <c:pt idx="75">
                  <c:v>20.03</c:v>
                </c:pt>
                <c:pt idx="76">
                  <c:v>20.03</c:v>
                </c:pt>
                <c:pt idx="77">
                  <c:v>20.79</c:v>
                </c:pt>
                <c:pt idx="78">
                  <c:v>20.149999999999999</c:v>
                </c:pt>
                <c:pt idx="79">
                  <c:v>20.399999999999999</c:v>
                </c:pt>
                <c:pt idx="80">
                  <c:v>20.190000000000001</c:v>
                </c:pt>
                <c:pt idx="81">
                  <c:v>20.77</c:v>
                </c:pt>
                <c:pt idx="82">
                  <c:v>20.62</c:v>
                </c:pt>
                <c:pt idx="83">
                  <c:v>21.67</c:v>
                </c:pt>
                <c:pt idx="84">
                  <c:v>22.77</c:v>
                </c:pt>
                <c:pt idx="85">
                  <c:v>24.1</c:v>
                </c:pt>
                <c:pt idx="86">
                  <c:v>23.32</c:v>
                </c:pt>
                <c:pt idx="87">
                  <c:v>23.17</c:v>
                </c:pt>
                <c:pt idx="88">
                  <c:v>22.83</c:v>
                </c:pt>
                <c:pt idx="89">
                  <c:v>23.07</c:v>
                </c:pt>
                <c:pt idx="90">
                  <c:v>22.72</c:v>
                </c:pt>
                <c:pt idx="91">
                  <c:v>19.079999999999998</c:v>
                </c:pt>
                <c:pt idx="92">
                  <c:v>22.75</c:v>
                </c:pt>
                <c:pt idx="93">
                  <c:v>22.77</c:v>
                </c:pt>
                <c:pt idx="94">
                  <c:v>23.13</c:v>
                </c:pt>
                <c:pt idx="95">
                  <c:v>21.81</c:v>
                </c:pt>
                <c:pt idx="96">
                  <c:v>21.48</c:v>
                </c:pt>
                <c:pt idx="97">
                  <c:v>20.7</c:v>
                </c:pt>
                <c:pt idx="98">
                  <c:v>20.149999999999999</c:v>
                </c:pt>
                <c:pt idx="99">
                  <c:v>19.399999999999999</c:v>
                </c:pt>
                <c:pt idx="100">
                  <c:v>18.47</c:v>
                </c:pt>
                <c:pt idx="101">
                  <c:v>17.3</c:v>
                </c:pt>
                <c:pt idx="102">
                  <c:v>17.350000000000001</c:v>
                </c:pt>
                <c:pt idx="103">
                  <c:v>17.25</c:v>
                </c:pt>
                <c:pt idx="104">
                  <c:v>16.440000000000001</c:v>
                </c:pt>
                <c:pt idx="105" formatCode="General">
                  <c:v>16.13</c:v>
                </c:pt>
                <c:pt idx="106" formatCode="General">
                  <c:v>16.420000000000002</c:v>
                </c:pt>
                <c:pt idx="107" formatCode="General">
                  <c:v>16.34</c:v>
                </c:pt>
                <c:pt idx="108" formatCode="General">
                  <c:v>16.5</c:v>
                </c:pt>
                <c:pt idx="109" formatCode="General">
                  <c:v>16.07</c:v>
                </c:pt>
                <c:pt idx="110" formatCode="General">
                  <c:v>16.670000000000002</c:v>
                </c:pt>
                <c:pt idx="111" formatCode="General">
                  <c:v>16.25</c:v>
                </c:pt>
                <c:pt idx="112" formatCode="General">
                  <c:v>16.38</c:v>
                </c:pt>
                <c:pt idx="113" formatCode="General">
                  <c:v>16.38</c:v>
                </c:pt>
                <c:pt idx="114" formatCode="General">
                  <c:v>16.02</c:v>
                </c:pt>
                <c:pt idx="115" formatCode="General">
                  <c:v>16.28</c:v>
                </c:pt>
                <c:pt idx="116" formatCode="General">
                  <c:v>16.12</c:v>
                </c:pt>
                <c:pt idx="117" formatCode="General">
                  <c:v>16.04</c:v>
                </c:pt>
                <c:pt idx="118" formatCode="General">
                  <c:v>15.57</c:v>
                </c:pt>
                <c:pt idx="119" formatCode="General">
                  <c:v>15.45</c:v>
                </c:pt>
                <c:pt idx="120" formatCode="General">
                  <c:v>15.49</c:v>
                </c:pt>
                <c:pt idx="121" formatCode="General">
                  <c:v>15.96</c:v>
                </c:pt>
                <c:pt idx="122" formatCode="General">
                  <c:v>17.3</c:v>
                </c:pt>
                <c:pt idx="123" formatCode="General">
                  <c:v>16.100000000000001</c:v>
                </c:pt>
                <c:pt idx="124" formatCode="General">
                  <c:v>17.91</c:v>
                </c:pt>
                <c:pt idx="125" formatCode="General">
                  <c:v>17.13</c:v>
                </c:pt>
                <c:pt idx="126" formatCode="General">
                  <c:v>17.32</c:v>
                </c:pt>
                <c:pt idx="127" formatCode="General">
                  <c:v>17.920000000000002</c:v>
                </c:pt>
                <c:pt idx="128" formatCode="General">
                  <c:v>17.91</c:v>
                </c:pt>
                <c:pt idx="129" formatCode="General">
                  <c:v>17.510000000000002</c:v>
                </c:pt>
                <c:pt idx="130" formatCode="General">
                  <c:v>17.38</c:v>
                </c:pt>
                <c:pt idx="131" formatCode="General">
                  <c:v>17.46</c:v>
                </c:pt>
                <c:pt idx="132" formatCode="General">
                  <c:v>17.93</c:v>
                </c:pt>
                <c:pt idx="133">
                  <c:v>17.53</c:v>
                </c:pt>
                <c:pt idx="134">
                  <c:v>18.28</c:v>
                </c:pt>
                <c:pt idx="135">
                  <c:v>18.64</c:v>
                </c:pt>
                <c:pt idx="136">
                  <c:v>18.5</c:v>
                </c:pt>
                <c:pt idx="137">
                  <c:v>17.96</c:v>
                </c:pt>
                <c:pt idx="138">
                  <c:v>17.84</c:v>
                </c:pt>
                <c:pt idx="139">
                  <c:v>17.71</c:v>
                </c:pt>
                <c:pt idx="140">
                  <c:v>17.579999999999998</c:v>
                </c:pt>
                <c:pt idx="141">
                  <c:v>17.600000000000001</c:v>
                </c:pt>
                <c:pt idx="142">
                  <c:v>17.78</c:v>
                </c:pt>
                <c:pt idx="143">
                  <c:v>18.03</c:v>
                </c:pt>
                <c:pt idx="144">
                  <c:v>17.64</c:v>
                </c:pt>
                <c:pt idx="145">
                  <c:v>17.5</c:v>
                </c:pt>
                <c:pt idx="146">
                  <c:v>17.32</c:v>
                </c:pt>
                <c:pt idx="147">
                  <c:v>17.68</c:v>
                </c:pt>
                <c:pt idx="148">
                  <c:v>17.170000000000002</c:v>
                </c:pt>
                <c:pt idx="149">
                  <c:v>16.899999999999999</c:v>
                </c:pt>
                <c:pt idx="150">
                  <c:v>16.100000000000001</c:v>
                </c:pt>
                <c:pt idx="151">
                  <c:v>16.11</c:v>
                </c:pt>
                <c:pt idx="152">
                  <c:v>15.85</c:v>
                </c:pt>
                <c:pt idx="153">
                  <c:v>15.35</c:v>
                </c:pt>
                <c:pt idx="154">
                  <c:v>15.42</c:v>
                </c:pt>
                <c:pt idx="155">
                  <c:v>16.059999999999999</c:v>
                </c:pt>
                <c:pt idx="156">
                  <c:v>16.54</c:v>
                </c:pt>
                <c:pt idx="157">
                  <c:v>16.61</c:v>
                </c:pt>
                <c:pt idx="158">
                  <c:v>16.96</c:v>
                </c:pt>
                <c:pt idx="159">
                  <c:v>16.63</c:v>
                </c:pt>
                <c:pt idx="160">
                  <c:v>16.84</c:v>
                </c:pt>
                <c:pt idx="161">
                  <c:v>15.84</c:v>
                </c:pt>
                <c:pt idx="162">
                  <c:v>15.36</c:v>
                </c:pt>
                <c:pt idx="163" formatCode="General">
                  <c:v>15.89</c:v>
                </c:pt>
                <c:pt idx="164" formatCode="General">
                  <c:v>15.55</c:v>
                </c:pt>
                <c:pt idx="165">
                  <c:v>15.59</c:v>
                </c:pt>
                <c:pt idx="166">
                  <c:v>15.27</c:v>
                </c:pt>
                <c:pt idx="167">
                  <c:v>16.05</c:v>
                </c:pt>
                <c:pt idx="168">
                  <c:v>16.46</c:v>
                </c:pt>
                <c:pt idx="169">
                  <c:v>16.16</c:v>
                </c:pt>
                <c:pt idx="170">
                  <c:v>16.989999999999998</c:v>
                </c:pt>
                <c:pt idx="171">
                  <c:v>16.41</c:v>
                </c:pt>
                <c:pt idx="172">
                  <c:v>16.89</c:v>
                </c:pt>
                <c:pt idx="173">
                  <c:v>15.86</c:v>
                </c:pt>
                <c:pt idx="174">
                  <c:v>16.54</c:v>
                </c:pt>
                <c:pt idx="175">
                  <c:v>16.059999999999999</c:v>
                </c:pt>
                <c:pt idx="176">
                  <c:v>16.22</c:v>
                </c:pt>
                <c:pt idx="177">
                  <c:v>16.11</c:v>
                </c:pt>
                <c:pt idx="178">
                  <c:v>16.12</c:v>
                </c:pt>
                <c:pt idx="179">
                  <c:v>15.81</c:v>
                </c:pt>
                <c:pt idx="180">
                  <c:v>15.63</c:v>
                </c:pt>
                <c:pt idx="181">
                  <c:v>16.329999999999998</c:v>
                </c:pt>
                <c:pt idx="182">
                  <c:v>16.05</c:v>
                </c:pt>
                <c:pt idx="183">
                  <c:v>17.309999999999999</c:v>
                </c:pt>
                <c:pt idx="184">
                  <c:v>16.82</c:v>
                </c:pt>
                <c:pt idx="185">
                  <c:v>17.09</c:v>
                </c:pt>
                <c:pt idx="186">
                  <c:v>17.239999999999998</c:v>
                </c:pt>
                <c:pt idx="187">
                  <c:v>17.04</c:v>
                </c:pt>
                <c:pt idx="188">
                  <c:v>17.13</c:v>
                </c:pt>
                <c:pt idx="189">
                  <c:v>16.45</c:v>
                </c:pt>
                <c:pt idx="190">
                  <c:v>16.350000000000001</c:v>
                </c:pt>
                <c:pt idx="191">
                  <c:v>17</c:v>
                </c:pt>
                <c:pt idx="192" formatCode="#,##0.00">
                  <c:v>17.48</c:v>
                </c:pt>
                <c:pt idx="193" formatCode="#,##0.00">
                  <c:v>17.329999999999998</c:v>
                </c:pt>
                <c:pt idx="194" formatCode="#,##0.00">
                  <c:v>17.3</c:v>
                </c:pt>
                <c:pt idx="195" formatCode="#,##0.00">
                  <c:v>16.91</c:v>
                </c:pt>
                <c:pt idx="196" formatCode="#,##0.00">
                  <c:v>17.36</c:v>
                </c:pt>
                <c:pt idx="197" formatCode="#,##0.00">
                  <c:v>18.63</c:v>
                </c:pt>
                <c:pt idx="198" formatCode="#,##0.00">
                  <c:v>17.260000000000002</c:v>
                </c:pt>
                <c:pt idx="199" formatCode="#,##0.00">
                  <c:v>17.37</c:v>
                </c:pt>
                <c:pt idx="200" formatCode="#,##0.00">
                  <c:v>17.829999999999998</c:v>
                </c:pt>
                <c:pt idx="201" formatCode="#,##0.00">
                  <c:v>18.21</c:v>
                </c:pt>
                <c:pt idx="202" formatCode="#,##0.00">
                  <c:v>17.91</c:v>
                </c:pt>
                <c:pt idx="203" formatCode="#,##0.00">
                  <c:v>17.59</c:v>
                </c:pt>
                <c:pt idx="204" formatCode="#,##0.00">
                  <c:v>17.97</c:v>
                </c:pt>
                <c:pt idx="205" formatCode="#,##0.00">
                  <c:v>17.559999999999999</c:v>
                </c:pt>
                <c:pt idx="206" formatCode="#,##0.00">
                  <c:v>17.670000000000002</c:v>
                </c:pt>
                <c:pt idx="207" formatCode="#,##0.00">
                  <c:v>17.2</c:v>
                </c:pt>
                <c:pt idx="208" formatCode="#,##0.00">
                  <c:v>16.86</c:v>
                </c:pt>
                <c:pt idx="209" formatCode="#,##0.00">
                  <c:v>17.04</c:v>
                </c:pt>
                <c:pt idx="210" formatCode="#,##0.00">
                  <c:v>17.04</c:v>
                </c:pt>
                <c:pt idx="211" formatCode="#,##0.00">
                  <c:v>16.91</c:v>
                </c:pt>
                <c:pt idx="212" formatCode="#,##0.00">
                  <c:v>16.989999999999998</c:v>
                </c:pt>
                <c:pt idx="213" formatCode="#,##0.00">
                  <c:v>17.989999999999998</c:v>
                </c:pt>
                <c:pt idx="214" formatCode="#,##0.00">
                  <c:v>18.03</c:v>
                </c:pt>
                <c:pt idx="215" formatCode="#,##0.00">
                  <c:v>18</c:v>
                </c:pt>
                <c:pt idx="216" formatCode="#,##0.00">
                  <c:v>18.600000000000001</c:v>
                </c:pt>
                <c:pt idx="217" formatCode="#,##0.00">
                  <c:v>17.899999999999999</c:v>
                </c:pt>
                <c:pt idx="218" formatCode="#,##0.00">
                  <c:v>16.690000000000001</c:v>
                </c:pt>
                <c:pt idx="219" formatCode="#,##0.00">
                  <c:v>18.63</c:v>
                </c:pt>
                <c:pt idx="220" formatCode="#,##0.00">
                  <c:v>19.66</c:v>
                </c:pt>
                <c:pt idx="221" formatCode="#,##0.00">
                  <c:v>19</c:v>
                </c:pt>
                <c:pt idx="222" formatCode="#,##0.00">
                  <c:v>19.899999999999999</c:v>
                </c:pt>
                <c:pt idx="223" formatCode="#,##0.00">
                  <c:v>23.04</c:v>
                </c:pt>
                <c:pt idx="224" formatCode="#,##0.00">
                  <c:v>19.5</c:v>
                </c:pt>
                <c:pt idx="225" formatCode="#,##0.00">
                  <c:v>20.25</c:v>
                </c:pt>
                <c:pt idx="226" formatCode="#,##0.00">
                  <c:v>18.52</c:v>
                </c:pt>
                <c:pt idx="227" formatCode="#,##0.00">
                  <c:v>19.7</c:v>
                </c:pt>
                <c:pt idx="228" formatCode="#,##0.00">
                  <c:v>20.170000000000002</c:v>
                </c:pt>
                <c:pt idx="229" formatCode="#,##0.00">
                  <c:v>20.100000000000001</c:v>
                </c:pt>
                <c:pt idx="230" formatCode="#,##0.00">
                  <c:v>20.190000000000001</c:v>
                </c:pt>
                <c:pt idx="231" formatCode="#,##0.00">
                  <c:v>20.29</c:v>
                </c:pt>
                <c:pt idx="232" formatCode="#,##0.00">
                  <c:v>21.15</c:v>
                </c:pt>
                <c:pt idx="233" formatCode="#,##0.00">
                  <c:v>21.03</c:v>
                </c:pt>
                <c:pt idx="234" formatCode="#,##0.00">
                  <c:v>21.45</c:v>
                </c:pt>
                <c:pt idx="235" formatCode="#,##0.00">
                  <c:v>21.35</c:v>
                </c:pt>
                <c:pt idx="236" formatCode="#,##0.00">
                  <c:v>21.74</c:v>
                </c:pt>
                <c:pt idx="237" formatCode="#,##0.00">
                  <c:v>21.74</c:v>
                </c:pt>
                <c:pt idx="238" formatCode="#,##0.00">
                  <c:v>21.86</c:v>
                </c:pt>
                <c:pt idx="239" formatCode="#,##0.00">
                  <c:v>21.42</c:v>
                </c:pt>
                <c:pt idx="240" formatCode="#,##0.00">
                  <c:v>21.65</c:v>
                </c:pt>
                <c:pt idx="241" formatCode="#,##0.00">
                  <c:v>21.7</c:v>
                </c:pt>
                <c:pt idx="242" formatCode="#,##0.00">
                  <c:v>22.15</c:v>
                </c:pt>
                <c:pt idx="243" formatCode="#,##0.00">
                  <c:v>21.95</c:v>
                </c:pt>
                <c:pt idx="244" formatCode="#,##0.00">
                  <c:v>21.85</c:v>
                </c:pt>
                <c:pt idx="245" formatCode="#,##0.00">
                  <c:v>21.6</c:v>
                </c:pt>
                <c:pt idx="246" formatCode="#,##0.00">
                  <c:v>20.49</c:v>
                </c:pt>
                <c:pt idx="247" formatCode="#,##0.00">
                  <c:v>18.78</c:v>
                </c:pt>
                <c:pt idx="248" formatCode="#,##0.00">
                  <c:v>18.54</c:v>
                </c:pt>
                <c:pt idx="249" formatCode="#,##0.00">
                  <c:v>18.39</c:v>
                </c:pt>
                <c:pt idx="250" formatCode="#,##0.00">
                  <c:v>18.47</c:v>
                </c:pt>
                <c:pt idx="251" formatCode="#,##0.00">
                  <c:v>18.54</c:v>
                </c:pt>
                <c:pt idx="252" formatCode="#,##0.00">
                  <c:v>18.45</c:v>
                </c:pt>
                <c:pt idx="253" formatCode="#,##0.00">
                  <c:v>19.55</c:v>
                </c:pt>
                <c:pt idx="254" formatCode="#,##0.00">
                  <c:v>20.100000000000001</c:v>
                </c:pt>
                <c:pt idx="255" formatCode="#,##0.00">
                  <c:v>21.33</c:v>
                </c:pt>
                <c:pt idx="256" formatCode="#,##0.00">
                  <c:v>20.72</c:v>
                </c:pt>
                <c:pt idx="257" formatCode="#,##0.00">
                  <c:v>21.25</c:v>
                </c:pt>
                <c:pt idx="258" formatCode="#,##0.00">
                  <c:v>20.18</c:v>
                </c:pt>
                <c:pt idx="259" formatCode="#,##0.00">
                  <c:v>20.100000000000001</c:v>
                </c:pt>
                <c:pt idx="260" formatCode="#,##0.00">
                  <c:v>19.61</c:v>
                </c:pt>
                <c:pt idx="261" formatCode="#,##0.00">
                  <c:v>19.190000000000001</c:v>
                </c:pt>
                <c:pt idx="262" formatCode="#,##0.00">
                  <c:v>19.399999999999999</c:v>
                </c:pt>
                <c:pt idx="263" formatCode="#,##0.00">
                  <c:v>20.12</c:v>
                </c:pt>
                <c:pt idx="264" formatCode="#,##0.00">
                  <c:v>20.16</c:v>
                </c:pt>
                <c:pt idx="265" formatCode="#,##0.00">
                  <c:v>20.73</c:v>
                </c:pt>
                <c:pt idx="266" formatCode="#,##0.00">
                  <c:v>21.7</c:v>
                </c:pt>
                <c:pt idx="267" formatCode="#,##0.00">
                  <c:v>20.7</c:v>
                </c:pt>
                <c:pt idx="268" formatCode="#,##0.00">
                  <c:v>21.23</c:v>
                </c:pt>
                <c:pt idx="269" formatCode="#,##0.00">
                  <c:v>22.01</c:v>
                </c:pt>
                <c:pt idx="270" formatCode="#,##0.00">
                  <c:v>21.74</c:v>
                </c:pt>
                <c:pt idx="271" formatCode="#,##0.00">
                  <c:v>20.56</c:v>
                </c:pt>
                <c:pt idx="272" formatCode="#,##0.00">
                  <c:v>21.08</c:v>
                </c:pt>
                <c:pt idx="273" formatCode="#,##0.00">
                  <c:v>20.39</c:v>
                </c:pt>
                <c:pt idx="274" formatCode="#,##0.00">
                  <c:v>20.67</c:v>
                </c:pt>
                <c:pt idx="275" formatCode="#,##0.00">
                  <c:v>20.75</c:v>
                </c:pt>
                <c:pt idx="276" formatCode="#,##0.00">
                  <c:v>20.329999999999998</c:v>
                </c:pt>
                <c:pt idx="277" formatCode="#,##0.00">
                  <c:v>21.06</c:v>
                </c:pt>
                <c:pt idx="278" formatCode="#,##0.00">
                  <c:v>20.71</c:v>
                </c:pt>
                <c:pt idx="279" formatCode="#,##0.00">
                  <c:v>20.61</c:v>
                </c:pt>
                <c:pt idx="280" formatCode="#,##0.00">
                  <c:v>20.94</c:v>
                </c:pt>
                <c:pt idx="281" formatCode="#,##0.00">
                  <c:v>20.95</c:v>
                </c:pt>
                <c:pt idx="282" formatCode="#,##0.00">
                  <c:v>20.91</c:v>
                </c:pt>
                <c:pt idx="283" formatCode="#,##0.00">
                  <c:v>20.27</c:v>
                </c:pt>
                <c:pt idx="284" formatCode="#,##0.00">
                  <c:v>18.5</c:v>
                </c:pt>
                <c:pt idx="285" formatCode="#,##0.00">
                  <c:v>18.29</c:v>
                </c:pt>
                <c:pt idx="286" formatCode="#,##0.00">
                  <c:v>18.75</c:v>
                </c:pt>
                <c:pt idx="287" formatCode="#,##0.00">
                  <c:v>19.71</c:v>
                </c:pt>
                <c:pt idx="288" formatCode="#,##0.00">
                  <c:v>18.12</c:v>
                </c:pt>
                <c:pt idx="289" formatCode="#,##0.00">
                  <c:v>18.79</c:v>
                </c:pt>
                <c:pt idx="290" formatCode="#,##0.00">
                  <c:v>19.03</c:v>
                </c:pt>
                <c:pt idx="291" formatCode="#,##0.00">
                  <c:v>19.309999999999999</c:v>
                </c:pt>
                <c:pt idx="292" formatCode="#,##0.00">
                  <c:v>21.13</c:v>
                </c:pt>
                <c:pt idx="293" formatCode="#,##0.00">
                  <c:v>21.58</c:v>
                </c:pt>
                <c:pt idx="294" formatCode="#,##0.00">
                  <c:v>21.31</c:v>
                </c:pt>
                <c:pt idx="295" formatCode="#,##0.00">
                  <c:v>21.39</c:v>
                </c:pt>
                <c:pt idx="296" formatCode="#,##0.00">
                  <c:v>20.65</c:v>
                </c:pt>
                <c:pt idx="297" formatCode="#,##0.00">
                  <c:v>20.86</c:v>
                </c:pt>
                <c:pt idx="298" formatCode="#,##0.00">
                  <c:v>19.79</c:v>
                </c:pt>
                <c:pt idx="299" formatCode="#,##0.00">
                  <c:v>20.94</c:v>
                </c:pt>
                <c:pt idx="300" formatCode="#,##0.00">
                  <c:v>20.86</c:v>
                </c:pt>
                <c:pt idx="301" formatCode="#,##0.00">
                  <c:v>19.54</c:v>
                </c:pt>
                <c:pt idx="302" formatCode="#,##0.00">
                  <c:v>21.06</c:v>
                </c:pt>
                <c:pt idx="303" formatCode="#,##0.00">
                  <c:v>20.440000000000001</c:v>
                </c:pt>
                <c:pt idx="304" formatCode="#,##0.00">
                  <c:v>20.25</c:v>
                </c:pt>
                <c:pt idx="305" formatCode="#,##0.00">
                  <c:v>21.17</c:v>
                </c:pt>
                <c:pt idx="306" formatCode="#,##0.00">
                  <c:v>20.36</c:v>
                </c:pt>
                <c:pt idx="307" formatCode="#,##0.00">
                  <c:v>20.6</c:v>
                </c:pt>
                <c:pt idx="308" formatCode="#,##0.00">
                  <c:v>20.149999999999999</c:v>
                </c:pt>
                <c:pt idx="309" formatCode="#,##0.00">
                  <c:v>20.46</c:v>
                </c:pt>
                <c:pt idx="310" formatCode="#,##0.00">
                  <c:v>20.51</c:v>
                </c:pt>
                <c:pt idx="311" formatCode="#,##0.00">
                  <c:v>20.41</c:v>
                </c:pt>
                <c:pt idx="312" formatCode="#,##0.00">
                  <c:v>20.53</c:v>
                </c:pt>
                <c:pt idx="313" formatCode="#,##0.00">
                  <c:v>20.010000000000002</c:v>
                </c:pt>
                <c:pt idx="314" formatCode="#,##0.00">
                  <c:v>20.34</c:v>
                </c:pt>
                <c:pt idx="315" formatCode="#,##0.00">
                  <c:v>19.84</c:v>
                </c:pt>
                <c:pt idx="316" formatCode="#,##0.00">
                  <c:v>21.08</c:v>
                </c:pt>
                <c:pt idx="317" formatCode="#,##0.00">
                  <c:v>20.440000000000001</c:v>
                </c:pt>
                <c:pt idx="318" formatCode="#,##0.00">
                  <c:v>20.68</c:v>
                </c:pt>
                <c:pt idx="319" formatCode="#,##0.00">
                  <c:v>20.98</c:v>
                </c:pt>
                <c:pt idx="320" formatCode="#,##0.00">
                  <c:v>21.22</c:v>
                </c:pt>
                <c:pt idx="321" formatCode="#,##0.00">
                  <c:v>20.82</c:v>
                </c:pt>
                <c:pt idx="322" formatCode="#,##0.00">
                  <c:v>21.12</c:v>
                </c:pt>
                <c:pt idx="323" formatCode="#,##0.00">
                  <c:v>21.21</c:v>
                </c:pt>
                <c:pt idx="324" formatCode="#,##0.00">
                  <c:v>21.44</c:v>
                </c:pt>
                <c:pt idx="325" formatCode="#,##0.00">
                  <c:v>21.72</c:v>
                </c:pt>
                <c:pt idx="326" formatCode="#,##0.00">
                  <c:v>21.08</c:v>
                </c:pt>
                <c:pt idx="327" formatCode="#,##0.00">
                  <c:v>21.66</c:v>
                </c:pt>
                <c:pt idx="328" formatCode="#,##0.00">
                  <c:v>21.65</c:v>
                </c:pt>
                <c:pt idx="329" formatCode="#,##0.00">
                  <c:v>21.32</c:v>
                </c:pt>
                <c:pt idx="330" formatCode="#,##0.00">
                  <c:v>22.17</c:v>
                </c:pt>
                <c:pt idx="331" formatCode="#,##0.00">
                  <c:v>21.87</c:v>
                </c:pt>
                <c:pt idx="332" formatCode="#,##0.00">
                  <c:v>20.75</c:v>
                </c:pt>
                <c:pt idx="333" formatCode="#,##0.00">
                  <c:v>23.37</c:v>
                </c:pt>
                <c:pt idx="334" formatCode="#,##0.00">
                  <c:v>23.89</c:v>
                </c:pt>
                <c:pt idx="335" formatCode="#,##0.00">
                  <c:v>23.95</c:v>
                </c:pt>
                <c:pt idx="336" formatCode="#,##0.00">
                  <c:v>23.8</c:v>
                </c:pt>
                <c:pt idx="337" formatCode="#,##0.00">
                  <c:v>23.85</c:v>
                </c:pt>
                <c:pt idx="338" formatCode="#,##0.00">
                  <c:v>24.5</c:v>
                </c:pt>
                <c:pt idx="339" formatCode="#,##0.00">
                  <c:v>25.76</c:v>
                </c:pt>
                <c:pt idx="340" formatCode="#,##0.00">
                  <c:v>27.35</c:v>
                </c:pt>
                <c:pt idx="341" formatCode="#,##0.00">
                  <c:v>28.23</c:v>
                </c:pt>
                <c:pt idx="342" formatCode="#,##0.00">
                  <c:v>28.34</c:v>
                </c:pt>
                <c:pt idx="343" formatCode="#,##0.00">
                  <c:v>28.92</c:v>
                </c:pt>
                <c:pt idx="344" formatCode="#,##0.00">
                  <c:v>30.76</c:v>
                </c:pt>
                <c:pt idx="345" formatCode="#,##0.00">
                  <c:v>28.49</c:v>
                </c:pt>
                <c:pt idx="346" formatCode="#,##0.00">
                  <c:v>28.68</c:v>
                </c:pt>
                <c:pt idx="347" formatCode="#,##0.00">
                  <c:v>28.14</c:v>
                </c:pt>
                <c:pt idx="348" formatCode="#,##0.00">
                  <c:v>28.54</c:v>
                </c:pt>
                <c:pt idx="349" formatCode="#,##0.00">
                  <c:v>27.79</c:v>
                </c:pt>
                <c:pt idx="350" formatCode="#,##0.00">
                  <c:v>29.55</c:v>
                </c:pt>
                <c:pt idx="351" formatCode="#,##0.00">
                  <c:v>29.88</c:v>
                </c:pt>
                <c:pt idx="352" formatCode="#,##0.00">
                  <c:v>30.96</c:v>
                </c:pt>
                <c:pt idx="353" formatCode="#,##0.00">
                  <c:v>31.3</c:v>
                </c:pt>
                <c:pt idx="354" formatCode="#,##0.00">
                  <c:v>32.32</c:v>
                </c:pt>
                <c:pt idx="355" formatCode="#,##0.00">
                  <c:v>31.12</c:v>
                </c:pt>
                <c:pt idx="356" formatCode="#,##0.00">
                  <c:v>30.4</c:v>
                </c:pt>
                <c:pt idx="357" formatCode="#,##0.00">
                  <c:v>30.55</c:v>
                </c:pt>
                <c:pt idx="358" formatCode="#,##0.00">
                  <c:v>30.76</c:v>
                </c:pt>
                <c:pt idx="359" formatCode="#,##0.00">
                  <c:v>30.46</c:v>
                </c:pt>
                <c:pt idx="360" formatCode="#,##0.00">
                  <c:v>31.37</c:v>
                </c:pt>
                <c:pt idx="361" formatCode="#,##0.00">
                  <c:v>32.1</c:v>
                </c:pt>
                <c:pt idx="362" formatCode="#,##0.00">
                  <c:v>31.97</c:v>
                </c:pt>
                <c:pt idx="363" formatCode="#,##0.00">
                  <c:v>33.619999999999997</c:v>
                </c:pt>
                <c:pt idx="364" formatCode="#,##0.00">
                  <c:v>34.159999999999997</c:v>
                </c:pt>
                <c:pt idx="365" formatCode="#,##0.00">
                  <c:v>34.25</c:v>
                </c:pt>
                <c:pt idx="366" formatCode="#,##0.00">
                  <c:v>36.36</c:v>
                </c:pt>
                <c:pt idx="367" formatCode="#,##0.00">
                  <c:v>35.770000000000003</c:v>
                </c:pt>
                <c:pt idx="368" formatCode="#,##0.00">
                  <c:v>35.93</c:v>
                </c:pt>
                <c:pt idx="369" formatCode="#,##0.00">
                  <c:v>35.03</c:v>
                </c:pt>
                <c:pt idx="370" formatCode="#,##0.00">
                  <c:v>34.42</c:v>
                </c:pt>
                <c:pt idx="371" formatCode="#,##0.00">
                  <c:v>34.51</c:v>
                </c:pt>
                <c:pt idx="372" formatCode="#,##0.00">
                  <c:v>34.21</c:v>
                </c:pt>
                <c:pt idx="373" formatCode="#,##0.00">
                  <c:v>33.46</c:v>
                </c:pt>
                <c:pt idx="374" formatCode="#,##0.00">
                  <c:v>35.270000000000003</c:v>
                </c:pt>
                <c:pt idx="375" formatCode="#,##0.00">
                  <c:v>35.15</c:v>
                </c:pt>
                <c:pt idx="376" formatCode="#,##0.00">
                  <c:v>36.86</c:v>
                </c:pt>
                <c:pt idx="377" formatCode="#,##0.00">
                  <c:v>35.65</c:v>
                </c:pt>
                <c:pt idx="378" formatCode="#,##0.00">
                  <c:v>37.700000000000003</c:v>
                </c:pt>
                <c:pt idx="379" formatCode="#,##0.00">
                  <c:v>38.01</c:v>
                </c:pt>
                <c:pt idx="380" formatCode="#,##0.00">
                  <c:v>39.409999999999997</c:v>
                </c:pt>
                <c:pt idx="381" formatCode="#,##0.00">
                  <c:v>40.17</c:v>
                </c:pt>
                <c:pt idx="382" formatCode="#,##0.00">
                  <c:v>40.31</c:v>
                </c:pt>
                <c:pt idx="383" formatCode="#,##0.00">
                  <c:v>40.07</c:v>
                </c:pt>
                <c:pt idx="384" formatCode="#,##0.00">
                  <c:v>39.58</c:v>
                </c:pt>
                <c:pt idx="385" formatCode="#,##0.00">
                  <c:v>39.799999999999997</c:v>
                </c:pt>
                <c:pt idx="386" formatCode="#,##0.00">
                  <c:v>38.26</c:v>
                </c:pt>
                <c:pt idx="387" formatCode="#,##0.00">
                  <c:v>40.4</c:v>
                </c:pt>
                <c:pt idx="388" formatCode="#,##0.00">
                  <c:v>40.78</c:v>
                </c:pt>
                <c:pt idx="389" formatCode="#,##0.00">
                  <c:v>39.82</c:v>
                </c:pt>
                <c:pt idx="390" formatCode="#,##0.00">
                  <c:v>40.270000000000003</c:v>
                </c:pt>
                <c:pt idx="391" formatCode="#,##0.00">
                  <c:v>39.479999999999997</c:v>
                </c:pt>
                <c:pt idx="392" formatCode="#,##0.00">
                  <c:v>39.979999999999997</c:v>
                </c:pt>
                <c:pt idx="393" formatCode="#,##0.00">
                  <c:v>40.450000000000003</c:v>
                </c:pt>
                <c:pt idx="394" formatCode="#,##0.00">
                  <c:v>40.799999999999997</c:v>
                </c:pt>
                <c:pt idx="395" formatCode="#,##0.00">
                  <c:v>40.33</c:v>
                </c:pt>
                <c:pt idx="396" formatCode="#,##0.00">
                  <c:v>40.81</c:v>
                </c:pt>
                <c:pt idx="397" formatCode="#,##0.00">
                  <c:v>38.89</c:v>
                </c:pt>
                <c:pt idx="398" formatCode="#,##0.00">
                  <c:v>36.590000000000003</c:v>
                </c:pt>
                <c:pt idx="399" formatCode="#,##0.00">
                  <c:v>35.020000000000003</c:v>
                </c:pt>
                <c:pt idx="400" formatCode="#,##0.00">
                  <c:v>34.99</c:v>
                </c:pt>
                <c:pt idx="401" formatCode="#,##0.00">
                  <c:v>34.42</c:v>
                </c:pt>
                <c:pt idx="402" formatCode="#,##0.00">
                  <c:v>35.31</c:v>
                </c:pt>
                <c:pt idx="403" formatCode="#,##0.00">
                  <c:v>36.270000000000003</c:v>
                </c:pt>
                <c:pt idx="404" formatCode="#,##0.00">
                  <c:v>36.22</c:v>
                </c:pt>
                <c:pt idx="405" formatCode="#,##0.00">
                  <c:v>36.9</c:v>
                </c:pt>
                <c:pt idx="406" formatCode="#,##0.00">
                  <c:v>36.770000000000003</c:v>
                </c:pt>
                <c:pt idx="407" formatCode="#,##0.00">
                  <c:v>36.299999999999997</c:v>
                </c:pt>
                <c:pt idx="408" formatCode="#,##0.00">
                  <c:v>37.130000000000003</c:v>
                </c:pt>
                <c:pt idx="409" formatCode="#,##0.00">
                  <c:v>34.58</c:v>
                </c:pt>
                <c:pt idx="410" formatCode="#,##0.00">
                  <c:v>34.909999999999997</c:v>
                </c:pt>
                <c:pt idx="411" formatCode="#,##0.00">
                  <c:v>35.47</c:v>
                </c:pt>
                <c:pt idx="412" formatCode="#,##0.00">
                  <c:v>34.270000000000003</c:v>
                </c:pt>
                <c:pt idx="413" formatCode="#,##0.00">
                  <c:v>34.61</c:v>
                </c:pt>
                <c:pt idx="414" formatCode="#,##0.00">
                  <c:v>34.6</c:v>
                </c:pt>
                <c:pt idx="415" formatCode="#,##0.00">
                  <c:v>35.619999999999997</c:v>
                </c:pt>
                <c:pt idx="416" formatCode="#,##0.00">
                  <c:v>36.54</c:v>
                </c:pt>
                <c:pt idx="417" formatCode="#,##0.00">
                  <c:v>37.700000000000003</c:v>
                </c:pt>
                <c:pt idx="418" formatCode="#,##0.00">
                  <c:v>37.18</c:v>
                </c:pt>
                <c:pt idx="419" formatCode="#,##0.00">
                  <c:v>37.82</c:v>
                </c:pt>
                <c:pt idx="420" formatCode="#,##0.00">
                  <c:v>36.56</c:v>
                </c:pt>
                <c:pt idx="421" formatCode="#,##0.00">
                  <c:v>37.4</c:v>
                </c:pt>
                <c:pt idx="422" formatCode="#,##0.00">
                  <c:v>36.96</c:v>
                </c:pt>
                <c:pt idx="423" formatCode="#,##0.00">
                  <c:v>37.69</c:v>
                </c:pt>
                <c:pt idx="424" formatCode="#,##0.00">
                  <c:v>38.44</c:v>
                </c:pt>
                <c:pt idx="425" formatCode="#,##0.00">
                  <c:v>35.799999999999997</c:v>
                </c:pt>
                <c:pt idx="426" formatCode="#,##0.00">
                  <c:v>36.54</c:v>
                </c:pt>
                <c:pt idx="427" formatCode="#,##0.00">
                  <c:v>35.72</c:v>
                </c:pt>
                <c:pt idx="428" formatCode="#,##0.00">
                  <c:v>34.880000000000003</c:v>
                </c:pt>
                <c:pt idx="429" formatCode="#,##0.00">
                  <c:v>34.9</c:v>
                </c:pt>
                <c:pt idx="430" formatCode="#,##0.00">
                  <c:v>36.49</c:v>
                </c:pt>
                <c:pt idx="431" formatCode="#,##0.00">
                  <c:v>36.06</c:v>
                </c:pt>
                <c:pt idx="432" formatCode="#,##0.00">
                  <c:v>34.119999999999997</c:v>
                </c:pt>
                <c:pt idx="433" formatCode="#,##0.00">
                  <c:v>35.590000000000003</c:v>
                </c:pt>
                <c:pt idx="434" formatCode="#,##0.00">
                  <c:v>36.33</c:v>
                </c:pt>
                <c:pt idx="435" formatCode="#,##0.00">
                  <c:v>36.46</c:v>
                </c:pt>
                <c:pt idx="436" formatCode="#,##0.00">
                  <c:v>36.03</c:v>
                </c:pt>
                <c:pt idx="437" formatCode="#,##0.00">
                  <c:v>37</c:v>
                </c:pt>
                <c:pt idx="439" formatCode="#,##0.00">
                  <c:v>34.020000000000003</c:v>
                </c:pt>
                <c:pt idx="440" formatCode="#,##0.00">
                  <c:v>32.880000000000003</c:v>
                </c:pt>
                <c:pt idx="441" formatCode="#,##0.00">
                  <c:v>29.95</c:v>
                </c:pt>
                <c:pt idx="442" formatCode="#,##0.00">
                  <c:v>31.8</c:v>
                </c:pt>
                <c:pt idx="443" formatCode="#,##0.00">
                  <c:v>34.049999999999997</c:v>
                </c:pt>
                <c:pt idx="444" formatCode="#,##0.00">
                  <c:v>34.799999999999997</c:v>
                </c:pt>
                <c:pt idx="445" formatCode="#,##0.00">
                  <c:v>34.78</c:v>
                </c:pt>
                <c:pt idx="446" formatCode="#,##0.00">
                  <c:v>33.86</c:v>
                </c:pt>
                <c:pt idx="447" formatCode="#,##0.00">
                  <c:v>33.22</c:v>
                </c:pt>
                <c:pt idx="448" formatCode="#,##0.00">
                  <c:v>33.42</c:v>
                </c:pt>
                <c:pt idx="449" formatCode="#,##0.00">
                  <c:v>31.83</c:v>
                </c:pt>
                <c:pt idx="450" formatCode="#,##0.00">
                  <c:v>30.54</c:v>
                </c:pt>
                <c:pt idx="451" formatCode="#,##0.00">
                  <c:v>29.84</c:v>
                </c:pt>
                <c:pt idx="452" formatCode="#,##0.00">
                  <c:v>30.64</c:v>
                </c:pt>
                <c:pt idx="453" formatCode="#,##0.00">
                  <c:v>31.46</c:v>
                </c:pt>
                <c:pt idx="454" formatCode="#,##0.00">
                  <c:v>30.2</c:v>
                </c:pt>
                <c:pt idx="455" formatCode="#,##0.00">
                  <c:v>30.61</c:v>
                </c:pt>
                <c:pt idx="456" formatCode="#,##0.00">
                  <c:v>29.96</c:v>
                </c:pt>
                <c:pt idx="457" formatCode="#,##0.00">
                  <c:v>29.87</c:v>
                </c:pt>
                <c:pt idx="458" formatCode="#,##0.00">
                  <c:v>28.9</c:v>
                </c:pt>
                <c:pt idx="459" formatCode="#,##0.00">
                  <c:v>28.14</c:v>
                </c:pt>
                <c:pt idx="460" formatCode="#,##0.00">
                  <c:v>27.27</c:v>
                </c:pt>
                <c:pt idx="461" formatCode="#,##0.00">
                  <c:v>27.69</c:v>
                </c:pt>
                <c:pt idx="462" formatCode="#,##0.00">
                  <c:v>27</c:v>
                </c:pt>
                <c:pt idx="463" formatCode="#,##0.00">
                  <c:v>28.09</c:v>
                </c:pt>
                <c:pt idx="464" formatCode="#,##0.00">
                  <c:v>28.03</c:v>
                </c:pt>
                <c:pt idx="465" formatCode="#,##0.00">
                  <c:v>27.73</c:v>
                </c:pt>
                <c:pt idx="466" formatCode="#,##0.00">
                  <c:v>29.01</c:v>
                </c:pt>
                <c:pt idx="467" formatCode="#,##0.00">
                  <c:v>28.95</c:v>
                </c:pt>
                <c:pt idx="468" formatCode="General">
                  <c:v>29.1</c:v>
                </c:pt>
                <c:pt idx="469" formatCode="General">
                  <c:v>29.8</c:v>
                </c:pt>
                <c:pt idx="470" formatCode="General">
                  <c:v>30.84</c:v>
                </c:pt>
                <c:pt idx="471" formatCode="General">
                  <c:v>30.01</c:v>
                </c:pt>
                <c:pt idx="472" formatCode="General">
                  <c:v>30.12</c:v>
                </c:pt>
                <c:pt idx="473" formatCode="General">
                  <c:v>29.97</c:v>
                </c:pt>
                <c:pt idx="474" formatCode="General">
                  <c:v>29.01</c:v>
                </c:pt>
                <c:pt idx="475" formatCode="General">
                  <c:v>29.22</c:v>
                </c:pt>
                <c:pt idx="476" formatCode="General">
                  <c:v>29.31</c:v>
                </c:pt>
                <c:pt idx="477" formatCode="General">
                  <c:v>29.57</c:v>
                </c:pt>
                <c:pt idx="478" formatCode="General">
                  <c:v>30.18</c:v>
                </c:pt>
                <c:pt idx="479" formatCode="General">
                  <c:v>29.87</c:v>
                </c:pt>
                <c:pt idx="480" formatCode="General">
                  <c:v>30.06</c:v>
                </c:pt>
                <c:pt idx="481" formatCode="General">
                  <c:v>30.35</c:v>
                </c:pt>
                <c:pt idx="482" formatCode="General">
                  <c:v>29.03</c:v>
                </c:pt>
                <c:pt idx="483" formatCode="General">
                  <c:v>29.97</c:v>
                </c:pt>
                <c:pt idx="495" formatCode="General">
                  <c:v>34.01</c:v>
                </c:pt>
                <c:pt idx="496" formatCode="General">
                  <c:v>35.28</c:v>
                </c:pt>
                <c:pt idx="497" formatCode="General">
                  <c:v>32.29</c:v>
                </c:pt>
                <c:pt idx="498" formatCode="General">
                  <c:v>30.7</c:v>
                </c:pt>
                <c:pt idx="499" formatCode="General">
                  <c:v>30.63</c:v>
                </c:pt>
                <c:pt idx="500" formatCode="General">
                  <c:v>29.13</c:v>
                </c:pt>
                <c:pt idx="501" formatCode="General">
                  <c:v>29.57</c:v>
                </c:pt>
                <c:pt idx="502" formatCode="General">
                  <c:v>29.81</c:v>
                </c:pt>
                <c:pt idx="503" formatCode="General">
                  <c:v>29.52</c:v>
                </c:pt>
                <c:pt idx="504" formatCode="General">
                  <c:v>28.33</c:v>
                </c:pt>
                <c:pt idx="505" formatCode="General">
                  <c:v>28.85</c:v>
                </c:pt>
                <c:pt idx="506" formatCode="General">
                  <c:v>30.81</c:v>
                </c:pt>
                <c:pt idx="507" formatCode="General">
                  <c:v>30.13</c:v>
                </c:pt>
                <c:pt idx="508" formatCode="General">
                  <c:v>30.44</c:v>
                </c:pt>
                <c:pt idx="509" formatCode="General">
                  <c:v>30.19</c:v>
                </c:pt>
                <c:pt idx="510" formatCode="General">
                  <c:v>32.89</c:v>
                </c:pt>
                <c:pt idx="511" formatCode="General">
                  <c:v>29.34</c:v>
                </c:pt>
                <c:pt idx="512" formatCode="General">
                  <c:v>29.85</c:v>
                </c:pt>
                <c:pt idx="513" formatCode="General">
                  <c:v>30.26</c:v>
                </c:pt>
                <c:pt idx="514" formatCode="General">
                  <c:v>31.6</c:v>
                </c:pt>
                <c:pt idx="515" formatCode="General">
                  <c:v>30.86</c:v>
                </c:pt>
                <c:pt idx="516" formatCode="General">
                  <c:v>31.56</c:v>
                </c:pt>
                <c:pt idx="517" formatCode="General">
                  <c:v>30.56</c:v>
                </c:pt>
                <c:pt idx="518" formatCode="General">
                  <c:v>30.8</c:v>
                </c:pt>
                <c:pt idx="519" formatCode="General">
                  <c:v>32.19</c:v>
                </c:pt>
                <c:pt idx="520" formatCode="General">
                  <c:v>32.770000000000003</c:v>
                </c:pt>
                <c:pt idx="521" formatCode="General">
                  <c:v>33.479999999999997</c:v>
                </c:pt>
                <c:pt idx="522" formatCode="General">
                  <c:v>35.24</c:v>
                </c:pt>
                <c:pt idx="523" formatCode="General">
                  <c:v>34.35</c:v>
                </c:pt>
                <c:pt idx="524" formatCode="General">
                  <c:v>33.43</c:v>
                </c:pt>
                <c:pt idx="525" formatCode="General">
                  <c:v>33.840000000000003</c:v>
                </c:pt>
                <c:pt idx="526" formatCode="General">
                  <c:v>34.58</c:v>
                </c:pt>
                <c:pt idx="527" formatCode="General">
                  <c:v>37.42</c:v>
                </c:pt>
                <c:pt idx="528" formatCode="General">
                  <c:v>38.369999999999997</c:v>
                </c:pt>
                <c:pt idx="529" formatCode="General">
                  <c:v>38.82</c:v>
                </c:pt>
                <c:pt idx="530" formatCode="General">
                  <c:v>37.99</c:v>
                </c:pt>
                <c:pt idx="531" formatCode="General">
                  <c:v>41</c:v>
                </c:pt>
                <c:pt idx="532" formatCode="General">
                  <c:v>39.200000000000003</c:v>
                </c:pt>
                <c:pt idx="533" formatCode="General">
                  <c:v>38.869999999999997</c:v>
                </c:pt>
                <c:pt idx="534" formatCode="General">
                  <c:v>39.130000000000003</c:v>
                </c:pt>
                <c:pt idx="535" formatCode="General">
                  <c:v>39.89</c:v>
                </c:pt>
                <c:pt idx="536" formatCode="General">
                  <c:v>39.880000000000003</c:v>
                </c:pt>
                <c:pt idx="537" formatCode="General">
                  <c:v>42.01</c:v>
                </c:pt>
                <c:pt idx="538" formatCode="General">
                  <c:v>42.07</c:v>
                </c:pt>
                <c:pt idx="539" formatCode="General">
                  <c:v>41.53</c:v>
                </c:pt>
                <c:pt idx="540" formatCode="General">
                  <c:v>40.369999999999997</c:v>
                </c:pt>
                <c:pt idx="541" formatCode="General">
                  <c:v>42.05</c:v>
                </c:pt>
                <c:pt idx="542" formatCode="General">
                  <c:v>42.92</c:v>
                </c:pt>
                <c:pt idx="543" formatCode="General">
                  <c:v>41.76</c:v>
                </c:pt>
                <c:pt idx="544" formatCode="General">
                  <c:v>39.799999999999997</c:v>
                </c:pt>
                <c:pt idx="545" formatCode="General">
                  <c:v>40.35</c:v>
                </c:pt>
                <c:pt idx="546" formatCode="General">
                  <c:v>38.380000000000003</c:v>
                </c:pt>
                <c:pt idx="547" formatCode="General">
                  <c:v>39.409999999999997</c:v>
                </c:pt>
                <c:pt idx="548" formatCode="General">
                  <c:v>39.049999999999997</c:v>
                </c:pt>
                <c:pt idx="549" formatCode="General">
                  <c:v>37.619999999999997</c:v>
                </c:pt>
                <c:pt idx="550" formatCode="General">
                  <c:v>38.950000000000003</c:v>
                </c:pt>
                <c:pt idx="551" formatCode="General">
                  <c:v>39.81</c:v>
                </c:pt>
                <c:pt idx="552" formatCode="General">
                  <c:v>40.89</c:v>
                </c:pt>
                <c:pt idx="553" formatCode="General">
                  <c:v>39.549999999999997</c:v>
                </c:pt>
                <c:pt idx="554" formatCode="#,##0.00">
                  <c:v>42</c:v>
                </c:pt>
                <c:pt idx="555" formatCode="#,##0.00">
                  <c:v>41.32</c:v>
                </c:pt>
                <c:pt idx="556" formatCode="#,##0.00">
                  <c:v>42.54</c:v>
                </c:pt>
                <c:pt idx="557" formatCode="#,##0.00">
                  <c:v>40.94</c:v>
                </c:pt>
                <c:pt idx="558" formatCode="#,##0.00">
                  <c:v>39.21</c:v>
                </c:pt>
                <c:pt idx="559" formatCode="#,##0.00">
                  <c:v>38.94</c:v>
                </c:pt>
                <c:pt idx="560" formatCode="#,##0.00">
                  <c:v>39.92</c:v>
                </c:pt>
                <c:pt idx="563" formatCode="#,##0.00">
                  <c:v>39.229999999999997</c:v>
                </c:pt>
                <c:pt idx="564" formatCode="#,##0.00">
                  <c:v>39.979999999999997</c:v>
                </c:pt>
                <c:pt idx="565" formatCode="#,##0.00">
                  <c:v>40.119999999999997</c:v>
                </c:pt>
                <c:pt idx="566" formatCode="#,##0.00">
                  <c:v>40.47</c:v>
                </c:pt>
                <c:pt idx="567" formatCode="#,##0.00">
                  <c:v>40.64</c:v>
                </c:pt>
                <c:pt idx="568" formatCode="#,##0.00">
                  <c:v>41.17</c:v>
                </c:pt>
                <c:pt idx="569" formatCode="#,##0.00">
                  <c:v>40.56</c:v>
                </c:pt>
                <c:pt idx="570" formatCode="#,##0.00">
                  <c:v>40.869999999999997</c:v>
                </c:pt>
                <c:pt idx="571" formatCode="#,##0.00">
                  <c:v>40.71</c:v>
                </c:pt>
                <c:pt idx="572" formatCode="#,##0.00">
                  <c:v>41.27</c:v>
                </c:pt>
                <c:pt idx="573" formatCode="#,##0.00">
                  <c:v>41.73</c:v>
                </c:pt>
                <c:pt idx="574" formatCode="#,##0.00">
                  <c:v>41.19</c:v>
                </c:pt>
                <c:pt idx="575" formatCode="#,##0.00">
                  <c:v>41.85</c:v>
                </c:pt>
                <c:pt idx="576" formatCode="#,##0.00">
                  <c:v>42.48</c:v>
                </c:pt>
                <c:pt idx="577" formatCode="#,##0.00">
                  <c:v>41.68</c:v>
                </c:pt>
                <c:pt idx="578" formatCode="#,##0.00">
                  <c:v>42.05</c:v>
                </c:pt>
                <c:pt idx="579" formatCode="#,##0.00">
                  <c:v>42.28</c:v>
                </c:pt>
                <c:pt idx="580" formatCode="#,##0.00">
                  <c:v>42.65</c:v>
                </c:pt>
                <c:pt idx="581" formatCode="#,##0.00">
                  <c:v>42.62</c:v>
                </c:pt>
                <c:pt idx="582" formatCode="#,##0.00">
                  <c:v>43.1</c:v>
                </c:pt>
                <c:pt idx="583" formatCode="General">
                  <c:v>42.29</c:v>
                </c:pt>
                <c:pt idx="584" formatCode="General">
                  <c:v>42.86</c:v>
                </c:pt>
                <c:pt idx="585" formatCode="General">
                  <c:v>43.84</c:v>
                </c:pt>
                <c:pt idx="586" formatCode="General">
                  <c:v>42.42</c:v>
                </c:pt>
                <c:pt idx="587" formatCode="General">
                  <c:v>43.17</c:v>
                </c:pt>
                <c:pt idx="588" formatCode="General">
                  <c:v>43.48</c:v>
                </c:pt>
                <c:pt idx="589" formatCode="General">
                  <c:v>44.17</c:v>
                </c:pt>
                <c:pt idx="590" formatCode="General">
                  <c:v>43.06</c:v>
                </c:pt>
                <c:pt idx="591" formatCode="General">
                  <c:v>46.19</c:v>
                </c:pt>
                <c:pt idx="592" formatCode="General">
                  <c:v>42.3</c:v>
                </c:pt>
                <c:pt idx="593" formatCode="General">
                  <c:v>45.59</c:v>
                </c:pt>
                <c:pt idx="594" formatCode="General">
                  <c:v>40.67</c:v>
                </c:pt>
                <c:pt idx="595" formatCode="General">
                  <c:v>38.04</c:v>
                </c:pt>
                <c:pt idx="596" formatCode="General">
                  <c:v>38.89</c:v>
                </c:pt>
                <c:pt idx="597" formatCode="General">
                  <c:v>39</c:v>
                </c:pt>
                <c:pt idx="598" formatCode="General">
                  <c:v>37.409999999999997</c:v>
                </c:pt>
                <c:pt idx="599" formatCode="General">
                  <c:v>39.21</c:v>
                </c:pt>
                <c:pt idx="600" formatCode="General">
                  <c:v>38.82</c:v>
                </c:pt>
                <c:pt idx="601" formatCode="General">
                  <c:v>38.369999999999997</c:v>
                </c:pt>
                <c:pt idx="602" formatCode="General">
                  <c:v>39.5</c:v>
                </c:pt>
                <c:pt idx="603" formatCode="General">
                  <c:v>39.020000000000003</c:v>
                </c:pt>
                <c:pt idx="604" formatCode="General">
                  <c:v>39.78</c:v>
                </c:pt>
                <c:pt idx="605" formatCode="General">
                  <c:v>40.31</c:v>
                </c:pt>
                <c:pt idx="606" formatCode="General">
                  <c:v>39.24</c:v>
                </c:pt>
                <c:pt idx="607" formatCode="General">
                  <c:v>38.46</c:v>
                </c:pt>
                <c:pt idx="608" formatCode="General">
                  <c:v>38.69</c:v>
                </c:pt>
                <c:pt idx="609" formatCode="General">
                  <c:v>38.659999999999997</c:v>
                </c:pt>
                <c:pt idx="610" formatCode="General">
                  <c:v>38.08</c:v>
                </c:pt>
                <c:pt idx="611" formatCode="General">
                  <c:v>36.68</c:v>
                </c:pt>
                <c:pt idx="612" formatCode="General">
                  <c:v>39.15</c:v>
                </c:pt>
                <c:pt idx="613" formatCode="General">
                  <c:v>37.39</c:v>
                </c:pt>
                <c:pt idx="614" formatCode="General">
                  <c:v>37.979999999999997</c:v>
                </c:pt>
                <c:pt idx="615" formatCode="General">
                  <c:v>37.729999999999997</c:v>
                </c:pt>
                <c:pt idx="620" formatCode="General">
                  <c:v>39.32</c:v>
                </c:pt>
                <c:pt idx="621" formatCode="General">
                  <c:v>39.090000000000003</c:v>
                </c:pt>
                <c:pt idx="622" formatCode="General">
                  <c:v>38.85</c:v>
                </c:pt>
                <c:pt idx="623" formatCode="General">
                  <c:v>39.049999999999997</c:v>
                </c:pt>
                <c:pt idx="624" formatCode="General">
                  <c:v>39.619999999999997</c:v>
                </c:pt>
                <c:pt idx="625" formatCode="General">
                  <c:v>43.11</c:v>
                </c:pt>
                <c:pt idx="626" formatCode="General">
                  <c:v>39.4</c:v>
                </c:pt>
                <c:pt idx="627" formatCode="General">
                  <c:v>38.47</c:v>
                </c:pt>
                <c:pt idx="628" formatCode="General">
                  <c:v>38.01</c:v>
                </c:pt>
                <c:pt idx="629" formatCode="General">
                  <c:v>37.950000000000003</c:v>
                </c:pt>
                <c:pt idx="630" formatCode="General">
                  <c:v>39.06</c:v>
                </c:pt>
                <c:pt idx="631" formatCode="General">
                  <c:v>38.340000000000003</c:v>
                </c:pt>
                <c:pt idx="632" formatCode="General">
                  <c:v>39.01</c:v>
                </c:pt>
                <c:pt idx="633" formatCode="General">
                  <c:v>38.479999999999997</c:v>
                </c:pt>
                <c:pt idx="634" formatCode="General">
                  <c:v>38.33</c:v>
                </c:pt>
                <c:pt idx="635" formatCode="General">
                  <c:v>38.43</c:v>
                </c:pt>
                <c:pt idx="636" formatCode="General">
                  <c:v>38.86</c:v>
                </c:pt>
                <c:pt idx="637" formatCode="General">
                  <c:v>36.42</c:v>
                </c:pt>
                <c:pt idx="638" formatCode="General">
                  <c:v>35.57</c:v>
                </c:pt>
                <c:pt idx="639" formatCode="General">
                  <c:v>36.31</c:v>
                </c:pt>
                <c:pt idx="640" formatCode="General">
                  <c:v>34.43</c:v>
                </c:pt>
                <c:pt idx="641" formatCode="General">
                  <c:v>36.65</c:v>
                </c:pt>
                <c:pt idx="642" formatCode="General">
                  <c:v>36.119999999999997</c:v>
                </c:pt>
                <c:pt idx="643" formatCode="General">
                  <c:v>36.61</c:v>
                </c:pt>
                <c:pt idx="644" formatCode="General">
                  <c:v>36.53</c:v>
                </c:pt>
                <c:pt idx="645" formatCode="General">
                  <c:v>35.79</c:v>
                </c:pt>
                <c:pt idx="646" formatCode="General">
                  <c:v>37.090000000000003</c:v>
                </c:pt>
                <c:pt idx="647" formatCode="General">
                  <c:v>35.5</c:v>
                </c:pt>
                <c:pt idx="648" formatCode="General">
                  <c:v>35.67</c:v>
                </c:pt>
                <c:pt idx="649" formatCode="General">
                  <c:v>35.04</c:v>
                </c:pt>
                <c:pt idx="650" formatCode="General">
                  <c:v>33.340000000000003</c:v>
                </c:pt>
                <c:pt idx="651" formatCode="General">
                  <c:v>32.1</c:v>
                </c:pt>
                <c:pt idx="652" formatCode="General">
                  <c:v>31.57</c:v>
                </c:pt>
                <c:pt idx="653" formatCode="General">
                  <c:v>31.31</c:v>
                </c:pt>
                <c:pt idx="654" formatCode="General">
                  <c:v>28.21</c:v>
                </c:pt>
                <c:pt idx="655" formatCode="General">
                  <c:v>32.159999999999997</c:v>
                </c:pt>
                <c:pt idx="656" formatCode="General">
                  <c:v>31.07</c:v>
                </c:pt>
                <c:pt idx="657" formatCode="General">
                  <c:v>30.94</c:v>
                </c:pt>
                <c:pt idx="658" formatCode="General">
                  <c:v>32.76</c:v>
                </c:pt>
                <c:pt idx="659" formatCode="General">
                  <c:v>32.049999999999997</c:v>
                </c:pt>
                <c:pt idx="660" formatCode="General">
                  <c:v>31.58</c:v>
                </c:pt>
                <c:pt idx="661" formatCode="General">
                  <c:v>31.28</c:v>
                </c:pt>
                <c:pt idx="662" formatCode="General">
                  <c:v>34.67</c:v>
                </c:pt>
                <c:pt idx="663" formatCode="General">
                  <c:v>30.97</c:v>
                </c:pt>
                <c:pt idx="664" formatCode="General">
                  <c:v>34.26</c:v>
                </c:pt>
                <c:pt idx="665" formatCode="General">
                  <c:v>33.869999999999997</c:v>
                </c:pt>
                <c:pt idx="666" formatCode="General">
                  <c:v>34.520000000000003</c:v>
                </c:pt>
                <c:pt idx="667" formatCode="General">
                  <c:v>34.81</c:v>
                </c:pt>
                <c:pt idx="668" formatCode="General">
                  <c:v>33.99</c:v>
                </c:pt>
                <c:pt idx="669" formatCode="General">
                  <c:v>33.950000000000003</c:v>
                </c:pt>
                <c:pt idx="670" formatCode="General">
                  <c:v>32.75</c:v>
                </c:pt>
                <c:pt idx="671" formatCode="General">
                  <c:v>34.01</c:v>
                </c:pt>
                <c:pt idx="672" formatCode="General">
                  <c:v>32.69</c:v>
                </c:pt>
                <c:pt idx="673" formatCode="General">
                  <c:v>32.49</c:v>
                </c:pt>
                <c:pt idx="674" formatCode="General">
                  <c:v>32.590000000000003</c:v>
                </c:pt>
                <c:pt idx="675" formatCode="General">
                  <c:v>34.14</c:v>
                </c:pt>
                <c:pt idx="676" formatCode="General">
                  <c:v>33.25</c:v>
                </c:pt>
                <c:pt idx="677" formatCode="General">
                  <c:v>34.74</c:v>
                </c:pt>
                <c:pt idx="678" formatCode="General">
                  <c:v>33.130000000000003</c:v>
                </c:pt>
                <c:pt idx="679" formatCode="General">
                  <c:v>32.89</c:v>
                </c:pt>
                <c:pt idx="680" formatCode="General">
                  <c:v>33.85</c:v>
                </c:pt>
                <c:pt idx="681" formatCode="General">
                  <c:v>33.659999999999997</c:v>
                </c:pt>
                <c:pt idx="682" formatCode="General">
                  <c:v>33.840000000000003</c:v>
                </c:pt>
                <c:pt idx="683" formatCode="General">
                  <c:v>34.29</c:v>
                </c:pt>
                <c:pt idx="684" formatCode="General">
                  <c:v>33.700000000000003</c:v>
                </c:pt>
                <c:pt idx="685" formatCode="General">
                  <c:v>35.57</c:v>
                </c:pt>
                <c:pt idx="686" formatCode="General">
                  <c:v>35.75</c:v>
                </c:pt>
                <c:pt idx="687" formatCode="General">
                  <c:v>35.9</c:v>
                </c:pt>
                <c:pt idx="688" formatCode="General">
                  <c:v>36.49</c:v>
                </c:pt>
                <c:pt idx="689" formatCode="General">
                  <c:v>37.159999999999997</c:v>
                </c:pt>
                <c:pt idx="690" formatCode="General">
                  <c:v>35.729999999999997</c:v>
                </c:pt>
                <c:pt idx="691" formatCode="General">
                  <c:v>35.08</c:v>
                </c:pt>
                <c:pt idx="692" formatCode="General">
                  <c:v>35.1</c:v>
                </c:pt>
                <c:pt idx="693" formatCode="General">
                  <c:v>32.56</c:v>
                </c:pt>
                <c:pt idx="694" formatCode="General">
                  <c:v>29.8</c:v>
                </c:pt>
                <c:pt idx="695" formatCode="General">
                  <c:v>29.7</c:v>
                </c:pt>
                <c:pt idx="696" formatCode="General">
                  <c:v>29.66</c:v>
                </c:pt>
                <c:pt idx="697" formatCode="General">
                  <c:v>28.87</c:v>
                </c:pt>
                <c:pt idx="698" formatCode="General">
                  <c:v>29.84</c:v>
                </c:pt>
                <c:pt idx="699" formatCode="General">
                  <c:v>29.59</c:v>
                </c:pt>
                <c:pt idx="700" formatCode="General">
                  <c:v>32.26</c:v>
                </c:pt>
                <c:pt idx="701" formatCode="General">
                  <c:v>31.88</c:v>
                </c:pt>
                <c:pt idx="702" formatCode="General">
                  <c:v>30.15</c:v>
                </c:pt>
                <c:pt idx="703" formatCode="General">
                  <c:v>32.159999999999997</c:v>
                </c:pt>
                <c:pt idx="704" formatCode="General">
                  <c:v>32.1</c:v>
                </c:pt>
                <c:pt idx="705" formatCode="General">
                  <c:v>32.36</c:v>
                </c:pt>
                <c:pt idx="706" formatCode="General">
                  <c:v>31.65</c:v>
                </c:pt>
                <c:pt idx="707" formatCode="General">
                  <c:v>30.17</c:v>
                </c:pt>
                <c:pt idx="708" formatCode="General">
                  <c:v>32.119999999999997</c:v>
                </c:pt>
                <c:pt idx="709" formatCode="General">
                  <c:v>30.95</c:v>
                </c:pt>
                <c:pt idx="710" formatCode="General">
                  <c:v>30.64</c:v>
                </c:pt>
                <c:pt idx="711" formatCode="General">
                  <c:v>30.51</c:v>
                </c:pt>
                <c:pt idx="712" formatCode="General">
                  <c:v>32.270000000000003</c:v>
                </c:pt>
                <c:pt idx="713" formatCode="General">
                  <c:v>31.48</c:v>
                </c:pt>
                <c:pt idx="714" formatCode="General">
                  <c:v>31.51</c:v>
                </c:pt>
                <c:pt idx="715" formatCode="General">
                  <c:v>31.43</c:v>
                </c:pt>
                <c:pt idx="716" formatCode="General">
                  <c:v>31.92</c:v>
                </c:pt>
                <c:pt idx="717" formatCode="General">
                  <c:v>31.17</c:v>
                </c:pt>
                <c:pt idx="718" formatCode="General">
                  <c:v>31.81</c:v>
                </c:pt>
                <c:pt idx="719" formatCode="General">
                  <c:v>30.98</c:v>
                </c:pt>
                <c:pt idx="720" formatCode="General">
                  <c:v>31.23</c:v>
                </c:pt>
                <c:pt idx="721" formatCode="General">
                  <c:v>29.91</c:v>
                </c:pt>
                <c:pt idx="722" formatCode="General">
                  <c:v>32.06</c:v>
                </c:pt>
                <c:pt idx="723" formatCode="General">
                  <c:v>30.75</c:v>
                </c:pt>
                <c:pt idx="724" formatCode="General">
                  <c:v>31.21</c:v>
                </c:pt>
                <c:pt idx="725" formatCode="General">
                  <c:v>32.21</c:v>
                </c:pt>
                <c:pt idx="726" formatCode="General">
                  <c:v>32.799999999999997</c:v>
                </c:pt>
                <c:pt idx="727" formatCode="General">
                  <c:v>32.840000000000003</c:v>
                </c:pt>
                <c:pt idx="728" formatCode="General">
                  <c:v>32.97</c:v>
                </c:pt>
                <c:pt idx="729" formatCode="General">
                  <c:v>30.95</c:v>
                </c:pt>
                <c:pt idx="730" formatCode="General">
                  <c:v>32.42</c:v>
                </c:pt>
                <c:pt idx="731" formatCode="General">
                  <c:v>32.81</c:v>
                </c:pt>
                <c:pt idx="732" formatCode="General">
                  <c:v>33.07</c:v>
                </c:pt>
                <c:pt idx="733" formatCode="General">
                  <c:v>32.4</c:v>
                </c:pt>
                <c:pt idx="734" formatCode="General">
                  <c:v>34.08</c:v>
                </c:pt>
                <c:pt idx="735" formatCode="General">
                  <c:v>36.130000000000003</c:v>
                </c:pt>
                <c:pt idx="736" formatCode="General">
                  <c:v>35.31</c:v>
                </c:pt>
                <c:pt idx="737" formatCode="General">
                  <c:v>35.51</c:v>
                </c:pt>
                <c:pt idx="738" formatCode="General">
                  <c:v>34.590000000000003</c:v>
                </c:pt>
                <c:pt idx="739" formatCode="General">
                  <c:v>33.04</c:v>
                </c:pt>
                <c:pt idx="740" formatCode="General">
                  <c:v>32.17</c:v>
                </c:pt>
                <c:pt idx="741" formatCode="General">
                  <c:v>33.24</c:v>
                </c:pt>
                <c:pt idx="742" formatCode="General">
                  <c:v>32.51</c:v>
                </c:pt>
                <c:pt idx="743" formatCode="General">
                  <c:v>33.659999999999997</c:v>
                </c:pt>
                <c:pt idx="744" formatCode="General">
                  <c:v>31.54</c:v>
                </c:pt>
                <c:pt idx="745" formatCode="General">
                  <c:v>33.479999999999997</c:v>
                </c:pt>
                <c:pt idx="746" formatCode="General">
                  <c:v>34.270000000000003</c:v>
                </c:pt>
                <c:pt idx="747" formatCode="General">
                  <c:v>34.92</c:v>
                </c:pt>
                <c:pt idx="748" formatCode="General">
                  <c:v>34.46</c:v>
                </c:pt>
                <c:pt idx="749" formatCode="General">
                  <c:v>36.71</c:v>
                </c:pt>
                <c:pt idx="750" formatCode="General">
                  <c:v>36.83</c:v>
                </c:pt>
                <c:pt idx="751" formatCode="General">
                  <c:v>36.340000000000003</c:v>
                </c:pt>
                <c:pt idx="752" formatCode="General">
                  <c:v>35.700000000000003</c:v>
                </c:pt>
                <c:pt idx="753" formatCode="General">
                  <c:v>35.24</c:v>
                </c:pt>
                <c:pt idx="754" formatCode="General">
                  <c:v>37.06</c:v>
                </c:pt>
                <c:pt idx="755" formatCode="General">
                  <c:v>35.04</c:v>
                </c:pt>
                <c:pt idx="756" formatCode="General">
                  <c:v>34.92</c:v>
                </c:pt>
                <c:pt idx="757" formatCode="General">
                  <c:v>34.81</c:v>
                </c:pt>
                <c:pt idx="758" formatCode="General">
                  <c:v>34.840000000000003</c:v>
                </c:pt>
                <c:pt idx="759" formatCode="General">
                  <c:v>33.58</c:v>
                </c:pt>
                <c:pt idx="760" formatCode="General">
                  <c:v>36.33</c:v>
                </c:pt>
                <c:pt idx="761" formatCode="General">
                  <c:v>35.24</c:v>
                </c:pt>
                <c:pt idx="762" formatCode="General">
                  <c:v>36.46</c:v>
                </c:pt>
                <c:pt idx="763" formatCode="General">
                  <c:v>36.17</c:v>
                </c:pt>
                <c:pt idx="764" formatCode="General">
                  <c:v>36.19</c:v>
                </c:pt>
                <c:pt idx="765" formatCode="General">
                  <c:v>37.79</c:v>
                </c:pt>
                <c:pt idx="766" formatCode="General">
                  <c:v>37.520000000000003</c:v>
                </c:pt>
                <c:pt idx="767" formatCode="General">
                  <c:v>38.93</c:v>
                </c:pt>
                <c:pt idx="768" formatCode="General">
                  <c:v>38.32</c:v>
                </c:pt>
                <c:pt idx="769" formatCode="General">
                  <c:v>37.75</c:v>
                </c:pt>
                <c:pt idx="770" formatCode="General">
                  <c:v>36.520000000000003</c:v>
                </c:pt>
                <c:pt idx="771" formatCode="General">
                  <c:v>37.76</c:v>
                </c:pt>
                <c:pt idx="773" formatCode="General">
                  <c:v>37.92</c:v>
                </c:pt>
                <c:pt idx="774" formatCode="General">
                  <c:v>41.02</c:v>
                </c:pt>
                <c:pt idx="775" formatCode="General">
                  <c:v>41.43</c:v>
                </c:pt>
                <c:pt idx="776" formatCode="General">
                  <c:v>41.12</c:v>
                </c:pt>
                <c:pt idx="777" formatCode="General">
                  <c:v>41.51</c:v>
                </c:pt>
                <c:pt idx="778" formatCode="General">
                  <c:v>41.16</c:v>
                </c:pt>
                <c:pt idx="779" formatCode="General">
                  <c:v>43.38</c:v>
                </c:pt>
                <c:pt idx="780" formatCode="General">
                  <c:v>42.55</c:v>
                </c:pt>
                <c:pt idx="781" formatCode="General">
                  <c:v>41.48</c:v>
                </c:pt>
                <c:pt idx="782" formatCode="General">
                  <c:v>41.91</c:v>
                </c:pt>
                <c:pt idx="783" formatCode="General">
                  <c:v>39.1</c:v>
                </c:pt>
                <c:pt idx="784" formatCode="General">
                  <c:v>39.22</c:v>
                </c:pt>
                <c:pt idx="785" formatCode="General">
                  <c:v>42.58</c:v>
                </c:pt>
                <c:pt idx="786" formatCode="General">
                  <c:v>42.82</c:v>
                </c:pt>
                <c:pt idx="787" formatCode="General">
                  <c:v>41.28</c:v>
                </c:pt>
                <c:pt idx="788" formatCode="General">
                  <c:v>40.1</c:v>
                </c:pt>
                <c:pt idx="789" formatCode="General">
                  <c:v>38.89</c:v>
                </c:pt>
                <c:pt idx="790" formatCode="General">
                  <c:v>39.33</c:v>
                </c:pt>
                <c:pt idx="791" formatCode="General">
                  <c:v>42.83</c:v>
                </c:pt>
                <c:pt idx="792" formatCode="General">
                  <c:v>43.85</c:v>
                </c:pt>
                <c:pt idx="793" formatCode="General">
                  <c:v>43.96</c:v>
                </c:pt>
                <c:pt idx="794" formatCode="General">
                  <c:v>44.38</c:v>
                </c:pt>
                <c:pt idx="795" formatCode="General">
                  <c:v>43.33</c:v>
                </c:pt>
                <c:pt idx="796" formatCode="General">
                  <c:v>45.67</c:v>
                </c:pt>
                <c:pt idx="797" formatCode="General">
                  <c:v>45.16</c:v>
                </c:pt>
                <c:pt idx="798" formatCode="General">
                  <c:v>42.87</c:v>
                </c:pt>
                <c:pt idx="799" formatCode="General">
                  <c:v>44.98</c:v>
                </c:pt>
                <c:pt idx="800" formatCode="General">
                  <c:v>42.82</c:v>
                </c:pt>
                <c:pt idx="801" formatCode="General">
                  <c:v>42.62</c:v>
                </c:pt>
              </c:numCache>
            </c:numRef>
          </c:val>
          <c:smooth val="0"/>
          <c:extLst>
            <c:ext xmlns:c16="http://schemas.microsoft.com/office/drawing/2014/chart" uri="{C3380CC4-5D6E-409C-BE32-E72D297353CC}">
              <c16:uniqueId val="{00000000-CB36-4737-8152-3FE8E8B9294F}"/>
            </c:ext>
          </c:extLst>
        </c:ser>
        <c:dLbls>
          <c:showLegendKey val="0"/>
          <c:showVal val="0"/>
          <c:showCatName val="0"/>
          <c:showSerName val="0"/>
          <c:showPercent val="0"/>
          <c:showBubbleSize val="0"/>
        </c:dLbls>
        <c:smooth val="0"/>
        <c:axId val="1221617343"/>
        <c:axId val="1"/>
      </c:lineChart>
      <c:catAx>
        <c:axId val="1221617343"/>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1617343"/>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Tollies/Bull calves 200-250kg</a:t>
            </a:r>
          </a:p>
        </c:rich>
      </c:tx>
      <c:overlay val="0"/>
    </c:title>
    <c:autoTitleDeleted val="0"/>
    <c:plotArea>
      <c:layout/>
      <c:lineChart>
        <c:grouping val="standard"/>
        <c:varyColors val="0"/>
        <c:ser>
          <c:idx val="6"/>
          <c:order val="0"/>
          <c:tx>
            <c:strRef>
              <c:f>Summary!$D$3</c:f>
              <c:strCache>
                <c:ptCount val="1"/>
                <c:pt idx="0">
                  <c:v>Tollies/Bull calves 200-250kg</c:v>
                </c:pt>
              </c:strCache>
            </c:strRef>
          </c:tx>
          <c:spPr>
            <a:ln w="12700">
              <a:solidFill>
                <a:schemeClr val="tx1"/>
              </a:solidFill>
            </a:ln>
          </c:spPr>
          <c:marker>
            <c:symbol val="none"/>
          </c:marker>
          <c:cat>
            <c:numRef>
              <c:f>Summary!$B$392:$B$804</c:f>
              <c:numCache>
                <c:formatCode>General</c:formatCode>
                <c:ptCount val="413"/>
                <c:pt idx="0">
                  <c:v>2018</c:v>
                </c:pt>
                <c:pt idx="50">
                  <c:v>2019</c:v>
                </c:pt>
                <c:pt idx="100">
                  <c:v>2020</c:v>
                </c:pt>
                <c:pt idx="148">
                  <c:v>2021</c:v>
                </c:pt>
                <c:pt idx="196">
                  <c:v>2022</c:v>
                </c:pt>
                <c:pt idx="246">
                  <c:v>2023</c:v>
                </c:pt>
                <c:pt idx="296">
                  <c:v>2024</c:v>
                </c:pt>
                <c:pt idx="346">
                  <c:v>2025</c:v>
                </c:pt>
                <c:pt idx="393">
                  <c:v>2026</c:v>
                </c:pt>
              </c:numCache>
            </c:numRef>
          </c:cat>
          <c:val>
            <c:numRef>
              <c:f>Summary!$D$392:$D$810</c:f>
              <c:numCache>
                <c:formatCode>#,##0.00</c:formatCode>
                <c:ptCount val="419"/>
                <c:pt idx="26">
                  <c:v>33.24</c:v>
                </c:pt>
                <c:pt idx="27">
                  <c:v>33.92</c:v>
                </c:pt>
                <c:pt idx="28">
                  <c:v>35.549999999999997</c:v>
                </c:pt>
                <c:pt idx="29">
                  <c:v>35.49</c:v>
                </c:pt>
                <c:pt idx="30">
                  <c:v>35.64</c:v>
                </c:pt>
                <c:pt idx="31">
                  <c:v>36.229999999999997</c:v>
                </c:pt>
                <c:pt idx="32">
                  <c:v>37.57</c:v>
                </c:pt>
                <c:pt idx="33">
                  <c:v>36.479999999999997</c:v>
                </c:pt>
                <c:pt idx="34">
                  <c:v>36.950000000000003</c:v>
                </c:pt>
                <c:pt idx="35">
                  <c:v>35.619999999999997</c:v>
                </c:pt>
                <c:pt idx="36">
                  <c:v>36.380000000000003</c:v>
                </c:pt>
                <c:pt idx="37">
                  <c:v>34.99</c:v>
                </c:pt>
                <c:pt idx="38">
                  <c:v>35.130000000000003</c:v>
                </c:pt>
                <c:pt idx="39">
                  <c:v>33.51</c:v>
                </c:pt>
                <c:pt idx="40">
                  <c:v>33.909999999999997</c:v>
                </c:pt>
                <c:pt idx="41">
                  <c:v>33.08</c:v>
                </c:pt>
                <c:pt idx="42">
                  <c:v>33.69</c:v>
                </c:pt>
                <c:pt idx="43">
                  <c:v>32.26</c:v>
                </c:pt>
                <c:pt idx="44">
                  <c:v>29.68</c:v>
                </c:pt>
                <c:pt idx="45">
                  <c:v>34.04</c:v>
                </c:pt>
                <c:pt idx="46">
                  <c:v>34.83</c:v>
                </c:pt>
                <c:pt idx="47">
                  <c:v>35.049999999999997</c:v>
                </c:pt>
                <c:pt idx="48">
                  <c:v>34.64</c:v>
                </c:pt>
                <c:pt idx="49">
                  <c:v>34.54</c:v>
                </c:pt>
                <c:pt idx="51">
                  <c:v>32.53</c:v>
                </c:pt>
                <c:pt idx="52">
                  <c:v>32.54</c:v>
                </c:pt>
                <c:pt idx="53">
                  <c:v>28.33</c:v>
                </c:pt>
                <c:pt idx="54">
                  <c:v>30.55</c:v>
                </c:pt>
                <c:pt idx="55">
                  <c:v>31.92</c:v>
                </c:pt>
                <c:pt idx="56">
                  <c:v>32.75</c:v>
                </c:pt>
                <c:pt idx="57">
                  <c:v>31.48</c:v>
                </c:pt>
                <c:pt idx="58">
                  <c:v>31.13</c:v>
                </c:pt>
                <c:pt idx="59">
                  <c:v>30.24</c:v>
                </c:pt>
                <c:pt idx="60">
                  <c:v>29.63</c:v>
                </c:pt>
                <c:pt idx="61">
                  <c:v>28.54</c:v>
                </c:pt>
                <c:pt idx="62">
                  <c:v>27.35</c:v>
                </c:pt>
                <c:pt idx="63">
                  <c:v>28.44</c:v>
                </c:pt>
                <c:pt idx="64">
                  <c:v>29.39</c:v>
                </c:pt>
                <c:pt idx="65">
                  <c:v>29.2</c:v>
                </c:pt>
                <c:pt idx="66">
                  <c:v>28.92</c:v>
                </c:pt>
                <c:pt idx="67">
                  <c:v>29.28</c:v>
                </c:pt>
                <c:pt idx="68">
                  <c:v>30</c:v>
                </c:pt>
                <c:pt idx="69">
                  <c:v>28.61</c:v>
                </c:pt>
                <c:pt idx="70">
                  <c:v>28.25</c:v>
                </c:pt>
                <c:pt idx="71">
                  <c:v>28.06</c:v>
                </c:pt>
                <c:pt idx="72">
                  <c:v>27.15</c:v>
                </c:pt>
                <c:pt idx="73">
                  <c:v>27.14</c:v>
                </c:pt>
                <c:pt idx="74">
                  <c:v>27.77</c:v>
                </c:pt>
                <c:pt idx="75">
                  <c:v>27.14</c:v>
                </c:pt>
                <c:pt idx="76">
                  <c:v>28.45</c:v>
                </c:pt>
                <c:pt idx="77">
                  <c:v>29.08</c:v>
                </c:pt>
                <c:pt idx="78">
                  <c:v>29.53</c:v>
                </c:pt>
                <c:pt idx="79">
                  <c:v>29.38</c:v>
                </c:pt>
                <c:pt idx="80" formatCode="General">
                  <c:v>28.93</c:v>
                </c:pt>
                <c:pt idx="81" formatCode="General">
                  <c:v>28.64</c:v>
                </c:pt>
                <c:pt idx="82" formatCode="General">
                  <c:v>30.06</c:v>
                </c:pt>
                <c:pt idx="83" formatCode="General">
                  <c:v>30.03</c:v>
                </c:pt>
                <c:pt idx="84" formatCode="General">
                  <c:v>30.7</c:v>
                </c:pt>
                <c:pt idx="85" formatCode="General">
                  <c:v>29.83</c:v>
                </c:pt>
                <c:pt idx="86" formatCode="General">
                  <c:v>29.99</c:v>
                </c:pt>
                <c:pt idx="87" formatCode="General">
                  <c:v>29.28</c:v>
                </c:pt>
                <c:pt idx="88" formatCode="General">
                  <c:v>29.77</c:v>
                </c:pt>
                <c:pt idx="89" formatCode="General">
                  <c:v>29.62</c:v>
                </c:pt>
                <c:pt idx="90" formatCode="General">
                  <c:v>29.63</c:v>
                </c:pt>
                <c:pt idx="91" formatCode="General">
                  <c:v>30.35</c:v>
                </c:pt>
                <c:pt idx="92" formatCode="General">
                  <c:v>30.09</c:v>
                </c:pt>
                <c:pt idx="93" formatCode="General">
                  <c:v>29.88</c:v>
                </c:pt>
                <c:pt idx="94" formatCode="General">
                  <c:v>29.11</c:v>
                </c:pt>
                <c:pt idx="95" formatCode="General">
                  <c:v>28.11</c:v>
                </c:pt>
                <c:pt idx="107" formatCode="General">
                  <c:v>32.130000000000003</c:v>
                </c:pt>
                <c:pt idx="108" formatCode="General">
                  <c:v>32.56</c:v>
                </c:pt>
                <c:pt idx="109" formatCode="General">
                  <c:v>31.62</c:v>
                </c:pt>
                <c:pt idx="110" formatCode="General">
                  <c:v>27.81</c:v>
                </c:pt>
                <c:pt idx="111" formatCode="General">
                  <c:v>30.06</c:v>
                </c:pt>
                <c:pt idx="112" formatCode="General">
                  <c:v>29.36</c:v>
                </c:pt>
                <c:pt idx="113" formatCode="General">
                  <c:v>28.28</c:v>
                </c:pt>
                <c:pt idx="114" formatCode="General">
                  <c:v>26.04</c:v>
                </c:pt>
                <c:pt idx="115" formatCode="General">
                  <c:v>29.11</c:v>
                </c:pt>
                <c:pt idx="116" formatCode="General">
                  <c:v>26.62</c:v>
                </c:pt>
                <c:pt idx="117" formatCode="General">
                  <c:v>27.78</c:v>
                </c:pt>
                <c:pt idx="118" formatCode="General">
                  <c:v>30.75</c:v>
                </c:pt>
                <c:pt idx="119" formatCode="General">
                  <c:v>29.82</c:v>
                </c:pt>
                <c:pt idx="120" formatCode="General">
                  <c:v>28.87</c:v>
                </c:pt>
                <c:pt idx="121" formatCode="General">
                  <c:v>28.77</c:v>
                </c:pt>
                <c:pt idx="122" formatCode="General">
                  <c:v>33.08</c:v>
                </c:pt>
                <c:pt idx="123" formatCode="General">
                  <c:v>29.26</c:v>
                </c:pt>
                <c:pt idx="124" formatCode="General">
                  <c:v>29.18</c:v>
                </c:pt>
                <c:pt idx="125" formatCode="General">
                  <c:v>30.11</c:v>
                </c:pt>
                <c:pt idx="126" formatCode="General">
                  <c:v>31.85</c:v>
                </c:pt>
                <c:pt idx="127" formatCode="General">
                  <c:v>31.78</c:v>
                </c:pt>
                <c:pt idx="128" formatCode="General">
                  <c:v>32.130000000000003</c:v>
                </c:pt>
                <c:pt idx="129" formatCode="General">
                  <c:v>31.14</c:v>
                </c:pt>
                <c:pt idx="130" formatCode="General">
                  <c:v>30.7</c:v>
                </c:pt>
                <c:pt idx="131" formatCode="General">
                  <c:v>31.88</c:v>
                </c:pt>
                <c:pt idx="132" formatCode="General">
                  <c:v>32.11</c:v>
                </c:pt>
                <c:pt idx="133" formatCode="General">
                  <c:v>33.54</c:v>
                </c:pt>
                <c:pt idx="134" formatCode="General">
                  <c:v>37.01</c:v>
                </c:pt>
                <c:pt idx="135" formatCode="General">
                  <c:v>34.21</c:v>
                </c:pt>
                <c:pt idx="136" formatCode="General">
                  <c:v>33.56</c:v>
                </c:pt>
                <c:pt idx="137" formatCode="General">
                  <c:v>33.340000000000003</c:v>
                </c:pt>
                <c:pt idx="138" formatCode="General">
                  <c:v>36.03</c:v>
                </c:pt>
                <c:pt idx="139" formatCode="General">
                  <c:v>36.07</c:v>
                </c:pt>
                <c:pt idx="140" formatCode="General">
                  <c:v>37.19</c:v>
                </c:pt>
                <c:pt idx="141" formatCode="General">
                  <c:v>40.15</c:v>
                </c:pt>
                <c:pt idx="142" formatCode="General">
                  <c:v>38.82</c:v>
                </c:pt>
                <c:pt idx="143" formatCode="General">
                  <c:v>38.29</c:v>
                </c:pt>
                <c:pt idx="144" formatCode="General">
                  <c:v>38.369999999999997</c:v>
                </c:pt>
                <c:pt idx="145" formatCode="General">
                  <c:v>37.799999999999997</c:v>
                </c:pt>
                <c:pt idx="146" formatCode="General">
                  <c:v>37.71</c:v>
                </c:pt>
                <c:pt idx="147" formatCode="General">
                  <c:v>39.049999999999997</c:v>
                </c:pt>
                <c:pt idx="148" formatCode="General">
                  <c:v>39.43</c:v>
                </c:pt>
                <c:pt idx="149" formatCode="General">
                  <c:v>39.950000000000003</c:v>
                </c:pt>
                <c:pt idx="150" formatCode="General">
                  <c:v>40.409999999999997</c:v>
                </c:pt>
                <c:pt idx="151" formatCode="General">
                  <c:v>40.35</c:v>
                </c:pt>
                <c:pt idx="152" formatCode="General">
                  <c:v>39.72</c:v>
                </c:pt>
                <c:pt idx="153" formatCode="General">
                  <c:v>40.130000000000003</c:v>
                </c:pt>
                <c:pt idx="154" formatCode="General">
                  <c:v>40.42</c:v>
                </c:pt>
                <c:pt idx="155" formatCode="General">
                  <c:v>40.19</c:v>
                </c:pt>
                <c:pt idx="156" formatCode="General">
                  <c:v>37.65</c:v>
                </c:pt>
                <c:pt idx="157" formatCode="General">
                  <c:v>41.3</c:v>
                </c:pt>
                <c:pt idx="158" formatCode="General">
                  <c:v>37.39</c:v>
                </c:pt>
                <c:pt idx="159" formatCode="General">
                  <c:v>37.19</c:v>
                </c:pt>
                <c:pt idx="160" formatCode="General">
                  <c:v>37.83</c:v>
                </c:pt>
                <c:pt idx="161" formatCode="General">
                  <c:v>36.43</c:v>
                </c:pt>
                <c:pt idx="162" formatCode="General">
                  <c:v>37.64</c:v>
                </c:pt>
                <c:pt idx="163" formatCode="General">
                  <c:v>39.24</c:v>
                </c:pt>
                <c:pt idx="164" formatCode="General">
                  <c:v>38.700000000000003</c:v>
                </c:pt>
                <c:pt idx="165" formatCode="General">
                  <c:v>38.5</c:v>
                </c:pt>
                <c:pt idx="166">
                  <c:v>39.119999999999997</c:v>
                </c:pt>
                <c:pt idx="167">
                  <c:v>39.14</c:v>
                </c:pt>
                <c:pt idx="168">
                  <c:v>39.5</c:v>
                </c:pt>
                <c:pt idx="169">
                  <c:v>39.479999999999997</c:v>
                </c:pt>
                <c:pt idx="170">
                  <c:v>38.99</c:v>
                </c:pt>
                <c:pt idx="171">
                  <c:v>38.04</c:v>
                </c:pt>
                <c:pt idx="172">
                  <c:v>38.619999999999997</c:v>
                </c:pt>
                <c:pt idx="175">
                  <c:v>37.72</c:v>
                </c:pt>
                <c:pt idx="176">
                  <c:v>39.04</c:v>
                </c:pt>
                <c:pt idx="177">
                  <c:v>39.590000000000003</c:v>
                </c:pt>
                <c:pt idx="178">
                  <c:v>40.35</c:v>
                </c:pt>
                <c:pt idx="179">
                  <c:v>40.17</c:v>
                </c:pt>
                <c:pt idx="180">
                  <c:v>39.17</c:v>
                </c:pt>
                <c:pt idx="181">
                  <c:v>39.909999999999997</c:v>
                </c:pt>
                <c:pt idx="182">
                  <c:v>39.450000000000003</c:v>
                </c:pt>
                <c:pt idx="183">
                  <c:v>40.15</c:v>
                </c:pt>
                <c:pt idx="184">
                  <c:v>41</c:v>
                </c:pt>
                <c:pt idx="185">
                  <c:v>39.04</c:v>
                </c:pt>
                <c:pt idx="186">
                  <c:v>40.5</c:v>
                </c:pt>
                <c:pt idx="187">
                  <c:v>41.19</c:v>
                </c:pt>
                <c:pt idx="188">
                  <c:v>42.27</c:v>
                </c:pt>
                <c:pt idx="189">
                  <c:v>41.38</c:v>
                </c:pt>
                <c:pt idx="190">
                  <c:v>41.72</c:v>
                </c:pt>
                <c:pt idx="191">
                  <c:v>40.799999999999997</c:v>
                </c:pt>
                <c:pt idx="192">
                  <c:v>42.4</c:v>
                </c:pt>
                <c:pt idx="193">
                  <c:v>40.58</c:v>
                </c:pt>
                <c:pt idx="194">
                  <c:v>41.72</c:v>
                </c:pt>
                <c:pt idx="195" formatCode="General">
                  <c:v>40.78</c:v>
                </c:pt>
                <c:pt idx="196" formatCode="General">
                  <c:v>40.799999999999997</c:v>
                </c:pt>
                <c:pt idx="197" formatCode="General">
                  <c:v>42.2</c:v>
                </c:pt>
                <c:pt idx="198" formatCode="General">
                  <c:v>41.16</c:v>
                </c:pt>
                <c:pt idx="199" formatCode="General">
                  <c:v>41.19</c:v>
                </c:pt>
                <c:pt idx="200" formatCode="General">
                  <c:v>41.75</c:v>
                </c:pt>
                <c:pt idx="201" formatCode="General">
                  <c:v>42.39</c:v>
                </c:pt>
                <c:pt idx="202" formatCode="General">
                  <c:v>41.09</c:v>
                </c:pt>
                <c:pt idx="203" formatCode="General">
                  <c:v>41.83</c:v>
                </c:pt>
                <c:pt idx="204" formatCode="General">
                  <c:v>38.44</c:v>
                </c:pt>
                <c:pt idx="205" formatCode="General">
                  <c:v>38.549999999999997</c:v>
                </c:pt>
                <c:pt idx="206" formatCode="General">
                  <c:v>38.299999999999997</c:v>
                </c:pt>
                <c:pt idx="207" formatCode="General">
                  <c:v>37.65</c:v>
                </c:pt>
                <c:pt idx="208" formatCode="General">
                  <c:v>37.76</c:v>
                </c:pt>
                <c:pt idx="209" formatCode="General">
                  <c:v>36.69</c:v>
                </c:pt>
                <c:pt idx="210" formatCode="General">
                  <c:v>37.83</c:v>
                </c:pt>
                <c:pt idx="211" formatCode="General">
                  <c:v>36.67</c:v>
                </c:pt>
                <c:pt idx="212" formatCode="General">
                  <c:v>38.07</c:v>
                </c:pt>
                <c:pt idx="213" formatCode="General">
                  <c:v>37.21</c:v>
                </c:pt>
                <c:pt idx="214" formatCode="General">
                  <c:v>38.58</c:v>
                </c:pt>
                <c:pt idx="215" formatCode="General">
                  <c:v>38.26</c:v>
                </c:pt>
                <c:pt idx="216" formatCode="General">
                  <c:v>38.51</c:v>
                </c:pt>
                <c:pt idx="217" formatCode="General">
                  <c:v>38.31</c:v>
                </c:pt>
                <c:pt idx="218" formatCode="General">
                  <c:v>38.21</c:v>
                </c:pt>
                <c:pt idx="219" formatCode="General">
                  <c:v>37.53</c:v>
                </c:pt>
                <c:pt idx="220" formatCode="General">
                  <c:v>37.85</c:v>
                </c:pt>
                <c:pt idx="221" formatCode="General">
                  <c:v>38.64</c:v>
                </c:pt>
                <c:pt idx="222" formatCode="General">
                  <c:v>37.380000000000003</c:v>
                </c:pt>
                <c:pt idx="223" formatCode="General">
                  <c:v>36.54</c:v>
                </c:pt>
                <c:pt idx="224" formatCode="General">
                  <c:v>39.54</c:v>
                </c:pt>
                <c:pt idx="225" formatCode="General">
                  <c:v>38.25</c:v>
                </c:pt>
                <c:pt idx="226" formatCode="General">
                  <c:v>37.159999999999997</c:v>
                </c:pt>
                <c:pt idx="227" formatCode="General">
                  <c:v>38.69</c:v>
                </c:pt>
                <c:pt idx="232" formatCode="General">
                  <c:v>38.78</c:v>
                </c:pt>
                <c:pt idx="233" formatCode="General">
                  <c:v>39.47</c:v>
                </c:pt>
                <c:pt idx="234" formatCode="General">
                  <c:v>38.450000000000003</c:v>
                </c:pt>
                <c:pt idx="235" formatCode="General">
                  <c:v>39.17</c:v>
                </c:pt>
                <c:pt idx="236" formatCode="General">
                  <c:v>39.770000000000003</c:v>
                </c:pt>
                <c:pt idx="237" formatCode="General">
                  <c:v>39.58</c:v>
                </c:pt>
                <c:pt idx="238" formatCode="General">
                  <c:v>39.74</c:v>
                </c:pt>
                <c:pt idx="239" formatCode="General">
                  <c:v>39.33</c:v>
                </c:pt>
                <c:pt idx="240" formatCode="General">
                  <c:v>37.869999999999997</c:v>
                </c:pt>
                <c:pt idx="241" formatCode="General">
                  <c:v>38.24</c:v>
                </c:pt>
                <c:pt idx="242" formatCode="General">
                  <c:v>37.71</c:v>
                </c:pt>
                <c:pt idx="243" formatCode="General">
                  <c:v>37.33</c:v>
                </c:pt>
                <c:pt idx="244" formatCode="General">
                  <c:v>37.93</c:v>
                </c:pt>
                <c:pt idx="245" formatCode="General">
                  <c:v>37.26</c:v>
                </c:pt>
                <c:pt idx="246" formatCode="General">
                  <c:v>37.729999999999997</c:v>
                </c:pt>
                <c:pt idx="247" formatCode="General">
                  <c:v>38.31</c:v>
                </c:pt>
                <c:pt idx="248" formatCode="General">
                  <c:v>37.74</c:v>
                </c:pt>
                <c:pt idx="249" formatCode="General">
                  <c:v>36.54</c:v>
                </c:pt>
                <c:pt idx="250" formatCode="General">
                  <c:v>35.619999999999997</c:v>
                </c:pt>
                <c:pt idx="251" formatCode="General">
                  <c:v>35.57</c:v>
                </c:pt>
                <c:pt idx="252" formatCode="General">
                  <c:v>34.880000000000003</c:v>
                </c:pt>
                <c:pt idx="253" formatCode="General">
                  <c:v>35.549999999999997</c:v>
                </c:pt>
                <c:pt idx="254" formatCode="General">
                  <c:v>34.43</c:v>
                </c:pt>
                <c:pt idx="255" formatCode="General">
                  <c:v>35.86</c:v>
                </c:pt>
                <c:pt idx="256" formatCode="General">
                  <c:v>34.9</c:v>
                </c:pt>
                <c:pt idx="257" formatCode="General">
                  <c:v>34.15</c:v>
                </c:pt>
                <c:pt idx="258" formatCode="General">
                  <c:v>34.54</c:v>
                </c:pt>
                <c:pt idx="259" formatCode="General">
                  <c:v>34.86</c:v>
                </c:pt>
                <c:pt idx="260" formatCode="General">
                  <c:v>33.909999999999997</c:v>
                </c:pt>
                <c:pt idx="261" formatCode="General">
                  <c:v>32.75</c:v>
                </c:pt>
                <c:pt idx="262" formatCode="General">
                  <c:v>32.47</c:v>
                </c:pt>
                <c:pt idx="263" formatCode="General">
                  <c:v>31.02</c:v>
                </c:pt>
                <c:pt idx="264" formatCode="General">
                  <c:v>30.68</c:v>
                </c:pt>
                <c:pt idx="265" formatCode="General">
                  <c:v>31.43</c:v>
                </c:pt>
                <c:pt idx="266" formatCode="General">
                  <c:v>30.42</c:v>
                </c:pt>
                <c:pt idx="267" formatCode="General">
                  <c:v>30.92</c:v>
                </c:pt>
                <c:pt idx="268" formatCode="General">
                  <c:v>32.31</c:v>
                </c:pt>
                <c:pt idx="269" formatCode="General">
                  <c:v>30.07</c:v>
                </c:pt>
                <c:pt idx="270" formatCode="General">
                  <c:v>31.63</c:v>
                </c:pt>
                <c:pt idx="271" formatCode="General">
                  <c:v>32.35</c:v>
                </c:pt>
                <c:pt idx="272" formatCode="General">
                  <c:v>32.31</c:v>
                </c:pt>
                <c:pt idx="273" formatCode="General">
                  <c:v>31.35</c:v>
                </c:pt>
                <c:pt idx="274" formatCode="General">
                  <c:v>36.46</c:v>
                </c:pt>
                <c:pt idx="275" formatCode="General">
                  <c:v>36.04</c:v>
                </c:pt>
                <c:pt idx="276" formatCode="General">
                  <c:v>33.83</c:v>
                </c:pt>
                <c:pt idx="277" formatCode="General">
                  <c:v>34.19</c:v>
                </c:pt>
                <c:pt idx="278" formatCode="General">
                  <c:v>34.24</c:v>
                </c:pt>
                <c:pt idx="279" formatCode="General">
                  <c:v>33.549999999999997</c:v>
                </c:pt>
                <c:pt idx="280" formatCode="General">
                  <c:v>34.479999999999997</c:v>
                </c:pt>
                <c:pt idx="281" formatCode="General">
                  <c:v>33.840000000000003</c:v>
                </c:pt>
                <c:pt idx="282" formatCode="General">
                  <c:v>33.409999999999997</c:v>
                </c:pt>
                <c:pt idx="283" formatCode="General">
                  <c:v>33.82</c:v>
                </c:pt>
                <c:pt idx="284" formatCode="General">
                  <c:v>33.47</c:v>
                </c:pt>
                <c:pt idx="285" formatCode="General">
                  <c:v>32.99</c:v>
                </c:pt>
                <c:pt idx="286" formatCode="General">
                  <c:v>32.33</c:v>
                </c:pt>
                <c:pt idx="287" formatCode="General">
                  <c:v>33.19</c:v>
                </c:pt>
                <c:pt idx="288" formatCode="General">
                  <c:v>32.57</c:v>
                </c:pt>
                <c:pt idx="289" formatCode="General">
                  <c:v>34.21</c:v>
                </c:pt>
                <c:pt idx="290" formatCode="General">
                  <c:v>33.26</c:v>
                </c:pt>
                <c:pt idx="291" formatCode="General">
                  <c:v>33.840000000000003</c:v>
                </c:pt>
                <c:pt idx="292" formatCode="General">
                  <c:v>35.200000000000003</c:v>
                </c:pt>
                <c:pt idx="293" formatCode="General">
                  <c:v>34.17</c:v>
                </c:pt>
                <c:pt idx="294" formatCode="General">
                  <c:v>34.68</c:v>
                </c:pt>
                <c:pt idx="295" formatCode="General">
                  <c:v>34.36</c:v>
                </c:pt>
                <c:pt idx="296" formatCode="General">
                  <c:v>34.03</c:v>
                </c:pt>
                <c:pt idx="297" formatCode="General">
                  <c:v>35.6</c:v>
                </c:pt>
                <c:pt idx="298" formatCode="General">
                  <c:v>35.200000000000003</c:v>
                </c:pt>
                <c:pt idx="299" formatCode="General">
                  <c:v>35.56</c:v>
                </c:pt>
                <c:pt idx="300" formatCode="General">
                  <c:v>35.32</c:v>
                </c:pt>
                <c:pt idx="301" formatCode="General">
                  <c:v>35.130000000000003</c:v>
                </c:pt>
                <c:pt idx="302" formatCode="General">
                  <c:v>36.89</c:v>
                </c:pt>
                <c:pt idx="303" formatCode="General">
                  <c:v>35.119999999999997</c:v>
                </c:pt>
                <c:pt idx="304" formatCode="General">
                  <c:v>34.520000000000003</c:v>
                </c:pt>
                <c:pt idx="305" formatCode="General">
                  <c:v>33.020000000000003</c:v>
                </c:pt>
                <c:pt idx="306" formatCode="General">
                  <c:v>31.63</c:v>
                </c:pt>
                <c:pt idx="307" formatCode="General">
                  <c:v>32.11</c:v>
                </c:pt>
                <c:pt idx="308" formatCode="General">
                  <c:v>29.4</c:v>
                </c:pt>
                <c:pt idx="309" formatCode="General">
                  <c:v>29.35</c:v>
                </c:pt>
                <c:pt idx="310" formatCode="General">
                  <c:v>30.08</c:v>
                </c:pt>
                <c:pt idx="311" formatCode="General">
                  <c:v>30.55</c:v>
                </c:pt>
                <c:pt idx="312" formatCode="General">
                  <c:v>31.18</c:v>
                </c:pt>
                <c:pt idx="313" formatCode="General">
                  <c:v>31.33</c:v>
                </c:pt>
                <c:pt idx="314" formatCode="General">
                  <c:v>31.5</c:v>
                </c:pt>
                <c:pt idx="315" formatCode="General">
                  <c:v>32.74</c:v>
                </c:pt>
                <c:pt idx="316" formatCode="General">
                  <c:v>32.99</c:v>
                </c:pt>
                <c:pt idx="317" formatCode="General">
                  <c:v>32.65</c:v>
                </c:pt>
                <c:pt idx="318" formatCode="General">
                  <c:v>32.630000000000003</c:v>
                </c:pt>
                <c:pt idx="319" formatCode="General">
                  <c:v>31.02</c:v>
                </c:pt>
                <c:pt idx="320" formatCode="General">
                  <c:v>31.7</c:v>
                </c:pt>
                <c:pt idx="321" formatCode="General">
                  <c:v>32.18</c:v>
                </c:pt>
                <c:pt idx="322" formatCode="General">
                  <c:v>31.04</c:v>
                </c:pt>
                <c:pt idx="323" formatCode="General">
                  <c:v>31.49</c:v>
                </c:pt>
                <c:pt idx="324" formatCode="General">
                  <c:v>34.229999999999997</c:v>
                </c:pt>
                <c:pt idx="325" formatCode="General">
                  <c:v>33.15</c:v>
                </c:pt>
                <c:pt idx="326" formatCode="General">
                  <c:v>32.549999999999997</c:v>
                </c:pt>
                <c:pt idx="327" formatCode="General">
                  <c:v>32.26</c:v>
                </c:pt>
                <c:pt idx="328" formatCode="General">
                  <c:v>32.020000000000003</c:v>
                </c:pt>
                <c:pt idx="329" formatCode="General">
                  <c:v>32</c:v>
                </c:pt>
                <c:pt idx="330" formatCode="General">
                  <c:v>32.85</c:v>
                </c:pt>
                <c:pt idx="331" formatCode="General">
                  <c:v>30.94</c:v>
                </c:pt>
                <c:pt idx="332" formatCode="General">
                  <c:v>31.44</c:v>
                </c:pt>
                <c:pt idx="333" formatCode="General">
                  <c:v>31.35</c:v>
                </c:pt>
                <c:pt idx="334" formatCode="General">
                  <c:v>33.22</c:v>
                </c:pt>
                <c:pt idx="335" formatCode="General">
                  <c:v>31.66</c:v>
                </c:pt>
                <c:pt idx="336" formatCode="General">
                  <c:v>32.22</c:v>
                </c:pt>
                <c:pt idx="337" formatCode="General">
                  <c:v>31.94</c:v>
                </c:pt>
                <c:pt idx="338" formatCode="General">
                  <c:v>32.54</c:v>
                </c:pt>
                <c:pt idx="339" formatCode="General">
                  <c:v>33.32</c:v>
                </c:pt>
                <c:pt idx="340" formatCode="General">
                  <c:v>33.29</c:v>
                </c:pt>
                <c:pt idx="341" formatCode="General">
                  <c:v>32.630000000000003</c:v>
                </c:pt>
                <c:pt idx="342" formatCode="General">
                  <c:v>29.67</c:v>
                </c:pt>
                <c:pt idx="343" formatCode="General">
                  <c:v>33.619999999999997</c:v>
                </c:pt>
                <c:pt idx="344" formatCode="General">
                  <c:v>33.54</c:v>
                </c:pt>
                <c:pt idx="345" formatCode="General">
                  <c:v>33.729999999999997</c:v>
                </c:pt>
                <c:pt idx="346" formatCode="General">
                  <c:v>34.18</c:v>
                </c:pt>
                <c:pt idx="347" formatCode="General">
                  <c:v>35.020000000000003</c:v>
                </c:pt>
                <c:pt idx="348" formatCode="General">
                  <c:v>35.81</c:v>
                </c:pt>
                <c:pt idx="349" formatCode="General">
                  <c:v>35.74</c:v>
                </c:pt>
                <c:pt idx="350" formatCode="General">
                  <c:v>33.78</c:v>
                </c:pt>
                <c:pt idx="351" formatCode="General">
                  <c:v>33.42</c:v>
                </c:pt>
                <c:pt idx="352" formatCode="General">
                  <c:v>33.03</c:v>
                </c:pt>
                <c:pt idx="353" formatCode="General">
                  <c:v>33.340000000000003</c:v>
                </c:pt>
                <c:pt idx="354" formatCode="General">
                  <c:v>31.86</c:v>
                </c:pt>
                <c:pt idx="355" formatCode="General">
                  <c:v>32.69</c:v>
                </c:pt>
                <c:pt idx="356" formatCode="General">
                  <c:v>33.19</c:v>
                </c:pt>
                <c:pt idx="357" formatCode="General">
                  <c:v>32.85</c:v>
                </c:pt>
                <c:pt idx="358" formatCode="General">
                  <c:v>34.979999999999997</c:v>
                </c:pt>
                <c:pt idx="359" formatCode="General">
                  <c:v>34.1</c:v>
                </c:pt>
                <c:pt idx="360" formatCode="General">
                  <c:v>34.840000000000003</c:v>
                </c:pt>
                <c:pt idx="361" formatCode="General">
                  <c:v>35.909999999999997</c:v>
                </c:pt>
                <c:pt idx="362" formatCode="General">
                  <c:v>36.700000000000003</c:v>
                </c:pt>
                <c:pt idx="363" formatCode="General">
                  <c:v>36.68</c:v>
                </c:pt>
                <c:pt idx="364" formatCode="General">
                  <c:v>37.159999999999997</c:v>
                </c:pt>
                <c:pt idx="365" formatCode="General">
                  <c:v>37.92</c:v>
                </c:pt>
                <c:pt idx="366" formatCode="General">
                  <c:v>37.33</c:v>
                </c:pt>
                <c:pt idx="367" formatCode="General">
                  <c:v>35.630000000000003</c:v>
                </c:pt>
                <c:pt idx="368" formatCode="General">
                  <c:v>37.03</c:v>
                </c:pt>
                <c:pt idx="369" formatCode="General">
                  <c:v>35.82</c:v>
                </c:pt>
                <c:pt idx="370" formatCode="General">
                  <c:v>38.25</c:v>
                </c:pt>
                <c:pt idx="371" formatCode="General">
                  <c:v>35.9</c:v>
                </c:pt>
                <c:pt idx="372" formatCode="General">
                  <c:v>38.380000000000003</c:v>
                </c:pt>
                <c:pt idx="373" formatCode="General">
                  <c:v>37.020000000000003</c:v>
                </c:pt>
                <c:pt idx="374" formatCode="General">
                  <c:v>37.619999999999997</c:v>
                </c:pt>
                <c:pt idx="375" formatCode="General">
                  <c:v>36.43</c:v>
                </c:pt>
                <c:pt idx="376" formatCode="General">
                  <c:v>37.200000000000003</c:v>
                </c:pt>
                <c:pt idx="377" formatCode="General">
                  <c:v>38.299999999999997</c:v>
                </c:pt>
                <c:pt idx="378" formatCode="General">
                  <c:v>37.97</c:v>
                </c:pt>
                <c:pt idx="379" formatCode="General">
                  <c:v>39.96</c:v>
                </c:pt>
                <c:pt idx="380" formatCode="General">
                  <c:v>38.26</c:v>
                </c:pt>
                <c:pt idx="381" formatCode="General">
                  <c:v>39.21</c:v>
                </c:pt>
                <c:pt idx="382" formatCode="General">
                  <c:v>37.4</c:v>
                </c:pt>
                <c:pt idx="383" formatCode="General">
                  <c:v>37.85</c:v>
                </c:pt>
                <c:pt idx="385" formatCode="General">
                  <c:v>38.4</c:v>
                </c:pt>
                <c:pt idx="386" formatCode="General">
                  <c:v>43</c:v>
                </c:pt>
                <c:pt idx="387" formatCode="General">
                  <c:v>41.67</c:v>
                </c:pt>
                <c:pt idx="388" formatCode="General">
                  <c:v>42.84</c:v>
                </c:pt>
                <c:pt idx="389" formatCode="General">
                  <c:v>43.75</c:v>
                </c:pt>
                <c:pt idx="390" formatCode="General">
                  <c:v>43.2</c:v>
                </c:pt>
                <c:pt idx="391" formatCode="General">
                  <c:v>43.74</c:v>
                </c:pt>
                <c:pt idx="392" formatCode="General">
                  <c:v>44.33</c:v>
                </c:pt>
                <c:pt idx="393" formatCode="General">
                  <c:v>40.93</c:v>
                </c:pt>
                <c:pt idx="394" formatCode="General">
                  <c:v>42.42</c:v>
                </c:pt>
                <c:pt idx="395" formatCode="General">
                  <c:v>39.340000000000003</c:v>
                </c:pt>
                <c:pt idx="396" formatCode="General">
                  <c:v>39.130000000000003</c:v>
                </c:pt>
                <c:pt idx="397" formatCode="General">
                  <c:v>41.35</c:v>
                </c:pt>
                <c:pt idx="398" formatCode="General">
                  <c:v>41.52</c:v>
                </c:pt>
                <c:pt idx="399" formatCode="General">
                  <c:v>39.35</c:v>
                </c:pt>
                <c:pt idx="400" formatCode="General">
                  <c:v>38.92</c:v>
                </c:pt>
                <c:pt idx="401" formatCode="General">
                  <c:v>40.54</c:v>
                </c:pt>
                <c:pt idx="402" formatCode="General">
                  <c:v>40.14</c:v>
                </c:pt>
                <c:pt idx="403" formatCode="General">
                  <c:v>41.42</c:v>
                </c:pt>
                <c:pt idx="404" formatCode="General">
                  <c:v>43.61</c:v>
                </c:pt>
                <c:pt idx="405" formatCode="General">
                  <c:v>43.33</c:v>
                </c:pt>
                <c:pt idx="406" formatCode="General">
                  <c:v>43.17</c:v>
                </c:pt>
                <c:pt idx="407" formatCode="General">
                  <c:v>45.83</c:v>
                </c:pt>
                <c:pt idx="408" formatCode="General">
                  <c:v>44.7</c:v>
                </c:pt>
                <c:pt idx="409" formatCode="General">
                  <c:v>43.95</c:v>
                </c:pt>
                <c:pt idx="410" formatCode="General">
                  <c:v>43.17</c:v>
                </c:pt>
                <c:pt idx="411" formatCode="General">
                  <c:v>42.84</c:v>
                </c:pt>
                <c:pt idx="412" formatCode="General">
                  <c:v>43.13</c:v>
                </c:pt>
                <c:pt idx="413" formatCode="General">
                  <c:v>44.69</c:v>
                </c:pt>
              </c:numCache>
            </c:numRef>
          </c:val>
          <c:smooth val="0"/>
          <c:extLst>
            <c:ext xmlns:c16="http://schemas.microsoft.com/office/drawing/2014/chart" uri="{C3380CC4-5D6E-409C-BE32-E72D297353CC}">
              <c16:uniqueId val="{00000000-49E2-464A-B42A-22EFC4C2B977}"/>
            </c:ext>
          </c:extLst>
        </c:ser>
        <c:dLbls>
          <c:showLegendKey val="0"/>
          <c:showVal val="0"/>
          <c:showCatName val="0"/>
          <c:showSerName val="0"/>
          <c:showPercent val="0"/>
          <c:showBubbleSize val="0"/>
        </c:dLbls>
        <c:smooth val="0"/>
        <c:axId val="1221615903"/>
        <c:axId val="1"/>
      </c:lineChart>
      <c:catAx>
        <c:axId val="1221615903"/>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1615903"/>
        <c:crosses val="autoZero"/>
        <c:crossBetween val="between"/>
      </c:valAx>
      <c:spPr>
        <a:noFill/>
        <a:ln w="25400">
          <a:noFill/>
        </a:ln>
      </c:spPr>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Tollies/Bull calves &gt;250kg</a:t>
            </a:r>
          </a:p>
        </c:rich>
      </c:tx>
      <c:overlay val="0"/>
    </c:title>
    <c:autoTitleDeleted val="0"/>
    <c:plotArea>
      <c:layout/>
      <c:lineChart>
        <c:grouping val="standard"/>
        <c:varyColors val="0"/>
        <c:ser>
          <c:idx val="6"/>
          <c:order val="0"/>
          <c:tx>
            <c:strRef>
              <c:f>Summary!$E$3</c:f>
              <c:strCache>
                <c:ptCount val="1"/>
                <c:pt idx="0">
                  <c:v>Tollies/Bull calves&gt;250kg</c:v>
                </c:pt>
              </c:strCache>
            </c:strRef>
          </c:tx>
          <c:spPr>
            <a:ln w="12700">
              <a:solidFill>
                <a:schemeClr val="tx1"/>
              </a:solidFill>
            </a:ln>
          </c:spPr>
          <c:marker>
            <c:symbol val="none"/>
          </c:marker>
          <c:cat>
            <c:numRef>
              <c:f>Summary!$B$4:$B$808</c:f>
              <c:numCache>
                <c:formatCode>General</c:formatCode>
                <c:ptCount val="805"/>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E$4:$E$810</c:f>
              <c:numCache>
                <c:formatCode>0.00</c:formatCode>
                <c:ptCount val="807"/>
                <c:pt idx="0">
                  <c:v>15.23</c:v>
                </c:pt>
                <c:pt idx="1">
                  <c:v>15.82</c:v>
                </c:pt>
                <c:pt idx="2">
                  <c:v>15.82</c:v>
                </c:pt>
                <c:pt idx="3">
                  <c:v>14.9</c:v>
                </c:pt>
                <c:pt idx="4">
                  <c:v>15.04</c:v>
                </c:pt>
                <c:pt idx="5">
                  <c:v>15.09</c:v>
                </c:pt>
                <c:pt idx="6">
                  <c:v>14.27</c:v>
                </c:pt>
                <c:pt idx="7">
                  <c:v>15.94</c:v>
                </c:pt>
                <c:pt idx="8">
                  <c:v>15.01</c:v>
                </c:pt>
                <c:pt idx="9">
                  <c:v>15.11</c:v>
                </c:pt>
                <c:pt idx="10">
                  <c:v>14.31</c:v>
                </c:pt>
                <c:pt idx="11">
                  <c:v>14.57</c:v>
                </c:pt>
                <c:pt idx="12">
                  <c:v>14.75</c:v>
                </c:pt>
                <c:pt idx="13">
                  <c:v>15.07</c:v>
                </c:pt>
                <c:pt idx="14">
                  <c:v>15.01</c:v>
                </c:pt>
                <c:pt idx="15">
                  <c:v>14.88</c:v>
                </c:pt>
                <c:pt idx="16">
                  <c:v>15.13</c:v>
                </c:pt>
                <c:pt idx="17">
                  <c:v>15.48</c:v>
                </c:pt>
                <c:pt idx="18">
                  <c:v>15.01</c:v>
                </c:pt>
                <c:pt idx="19">
                  <c:v>15.45</c:v>
                </c:pt>
                <c:pt idx="20">
                  <c:v>15.11</c:v>
                </c:pt>
                <c:pt idx="21">
                  <c:v>15.21</c:v>
                </c:pt>
                <c:pt idx="22">
                  <c:v>15.43</c:v>
                </c:pt>
                <c:pt idx="23">
                  <c:v>14.76</c:v>
                </c:pt>
                <c:pt idx="24">
                  <c:v>14.9</c:v>
                </c:pt>
                <c:pt idx="25">
                  <c:v>15.4</c:v>
                </c:pt>
                <c:pt idx="26">
                  <c:v>15</c:v>
                </c:pt>
                <c:pt idx="27">
                  <c:v>14.89</c:v>
                </c:pt>
                <c:pt idx="28">
                  <c:v>14.57</c:v>
                </c:pt>
                <c:pt idx="29">
                  <c:v>15</c:v>
                </c:pt>
                <c:pt idx="30">
                  <c:v>14.58</c:v>
                </c:pt>
                <c:pt idx="31">
                  <c:v>15.46</c:v>
                </c:pt>
                <c:pt idx="32">
                  <c:v>15.83</c:v>
                </c:pt>
                <c:pt idx="33">
                  <c:v>15.47</c:v>
                </c:pt>
                <c:pt idx="34">
                  <c:v>16.170000000000002</c:v>
                </c:pt>
                <c:pt idx="35">
                  <c:v>16.010000000000002</c:v>
                </c:pt>
                <c:pt idx="36">
                  <c:v>16.2</c:v>
                </c:pt>
                <c:pt idx="37">
                  <c:v>17.72</c:v>
                </c:pt>
                <c:pt idx="38">
                  <c:v>15.93</c:v>
                </c:pt>
                <c:pt idx="39">
                  <c:v>15.5</c:v>
                </c:pt>
                <c:pt idx="40">
                  <c:v>15.81</c:v>
                </c:pt>
                <c:pt idx="41">
                  <c:v>16.66</c:v>
                </c:pt>
                <c:pt idx="42">
                  <c:v>15.61</c:v>
                </c:pt>
                <c:pt idx="43">
                  <c:v>14.93</c:v>
                </c:pt>
                <c:pt idx="44">
                  <c:v>17.18</c:v>
                </c:pt>
                <c:pt idx="45">
                  <c:v>17.52</c:v>
                </c:pt>
                <c:pt idx="46">
                  <c:v>17.48</c:v>
                </c:pt>
                <c:pt idx="47">
                  <c:v>16.899999999999999</c:v>
                </c:pt>
                <c:pt idx="48">
                  <c:v>18.36</c:v>
                </c:pt>
                <c:pt idx="49">
                  <c:v>18.18</c:v>
                </c:pt>
                <c:pt idx="50">
                  <c:v>18.21</c:v>
                </c:pt>
                <c:pt idx="51">
                  <c:v>17.100000000000001</c:v>
                </c:pt>
                <c:pt idx="52">
                  <c:v>16.829999999999998</c:v>
                </c:pt>
                <c:pt idx="53">
                  <c:v>16.88</c:v>
                </c:pt>
                <c:pt idx="54">
                  <c:v>16.13</c:v>
                </c:pt>
                <c:pt idx="55">
                  <c:v>16.7</c:v>
                </c:pt>
                <c:pt idx="56">
                  <c:v>16.05</c:v>
                </c:pt>
                <c:pt idx="57">
                  <c:v>16.46</c:v>
                </c:pt>
                <c:pt idx="58">
                  <c:v>15.8</c:v>
                </c:pt>
                <c:pt idx="59">
                  <c:v>16.62</c:v>
                </c:pt>
                <c:pt idx="60">
                  <c:v>16.7</c:v>
                </c:pt>
                <c:pt idx="61">
                  <c:v>17.7</c:v>
                </c:pt>
                <c:pt idx="62">
                  <c:v>16.420000000000002</c:v>
                </c:pt>
                <c:pt idx="63">
                  <c:v>17.12</c:v>
                </c:pt>
                <c:pt idx="64">
                  <c:v>15.59</c:v>
                </c:pt>
                <c:pt idx="65">
                  <c:v>17.82</c:v>
                </c:pt>
                <c:pt idx="66">
                  <c:v>15.9</c:v>
                </c:pt>
                <c:pt idx="67">
                  <c:v>15.9</c:v>
                </c:pt>
                <c:pt idx="68">
                  <c:v>18.14</c:v>
                </c:pt>
                <c:pt idx="69">
                  <c:v>15.68</c:v>
                </c:pt>
                <c:pt idx="70">
                  <c:v>17.510000000000002</c:v>
                </c:pt>
                <c:pt idx="71">
                  <c:v>17.47</c:v>
                </c:pt>
                <c:pt idx="72">
                  <c:v>17.47</c:v>
                </c:pt>
                <c:pt idx="73">
                  <c:v>20.43</c:v>
                </c:pt>
                <c:pt idx="74">
                  <c:v>19.39</c:v>
                </c:pt>
                <c:pt idx="75">
                  <c:v>19.39</c:v>
                </c:pt>
                <c:pt idx="76">
                  <c:v>18.39</c:v>
                </c:pt>
                <c:pt idx="77">
                  <c:v>17.34</c:v>
                </c:pt>
                <c:pt idx="78">
                  <c:v>17.91</c:v>
                </c:pt>
                <c:pt idx="79">
                  <c:v>18.48</c:v>
                </c:pt>
                <c:pt idx="80">
                  <c:v>20.58</c:v>
                </c:pt>
                <c:pt idx="81">
                  <c:v>18.75</c:v>
                </c:pt>
                <c:pt idx="82">
                  <c:v>19.71</c:v>
                </c:pt>
                <c:pt idx="83">
                  <c:v>21.04</c:v>
                </c:pt>
                <c:pt idx="84">
                  <c:v>15.16</c:v>
                </c:pt>
                <c:pt idx="85">
                  <c:v>19.46</c:v>
                </c:pt>
                <c:pt idx="86">
                  <c:v>21.18</c:v>
                </c:pt>
                <c:pt idx="87">
                  <c:v>21.01</c:v>
                </c:pt>
                <c:pt idx="88">
                  <c:v>21.91</c:v>
                </c:pt>
                <c:pt idx="89">
                  <c:v>21.55</c:v>
                </c:pt>
                <c:pt idx="90">
                  <c:v>21.29</c:v>
                </c:pt>
                <c:pt idx="91">
                  <c:v>20.55</c:v>
                </c:pt>
                <c:pt idx="92">
                  <c:v>19.86</c:v>
                </c:pt>
                <c:pt idx="93">
                  <c:v>20.9</c:v>
                </c:pt>
                <c:pt idx="94">
                  <c:v>21.33</c:v>
                </c:pt>
                <c:pt idx="95">
                  <c:v>20.41</c:v>
                </c:pt>
                <c:pt idx="96">
                  <c:v>20.28</c:v>
                </c:pt>
                <c:pt idx="97">
                  <c:v>20.059999999999999</c:v>
                </c:pt>
                <c:pt idx="98">
                  <c:v>18.93</c:v>
                </c:pt>
                <c:pt idx="99">
                  <c:v>17.809999999999999</c:v>
                </c:pt>
                <c:pt idx="100">
                  <c:v>17.73</c:v>
                </c:pt>
                <c:pt idx="101">
                  <c:v>14.77</c:v>
                </c:pt>
                <c:pt idx="102">
                  <c:v>15.93</c:v>
                </c:pt>
                <c:pt idx="103">
                  <c:v>14.47</c:v>
                </c:pt>
                <c:pt idx="104">
                  <c:v>14.92</c:v>
                </c:pt>
                <c:pt idx="105" formatCode="General">
                  <c:v>15.28</c:v>
                </c:pt>
                <c:pt idx="106" formatCode="General">
                  <c:v>14.75</c:v>
                </c:pt>
                <c:pt idx="107" formatCode="General">
                  <c:v>15.49</c:v>
                </c:pt>
                <c:pt idx="108" formatCode="General">
                  <c:v>15.43</c:v>
                </c:pt>
                <c:pt idx="109" formatCode="General">
                  <c:v>15.49</c:v>
                </c:pt>
                <c:pt idx="110" formatCode="General">
                  <c:v>15.01</c:v>
                </c:pt>
                <c:pt idx="111" formatCode="General">
                  <c:v>15.99</c:v>
                </c:pt>
                <c:pt idx="112" formatCode="General">
                  <c:v>16.09</c:v>
                </c:pt>
                <c:pt idx="113" formatCode="General">
                  <c:v>15.8</c:v>
                </c:pt>
                <c:pt idx="114" formatCode="General">
                  <c:v>15.54</c:v>
                </c:pt>
                <c:pt idx="115" formatCode="General">
                  <c:v>15.61</c:v>
                </c:pt>
                <c:pt idx="116" formatCode="General">
                  <c:v>15.34</c:v>
                </c:pt>
                <c:pt idx="117" formatCode="General">
                  <c:v>16.14</c:v>
                </c:pt>
                <c:pt idx="118" formatCode="General">
                  <c:v>13.93</c:v>
                </c:pt>
                <c:pt idx="119" formatCode="General">
                  <c:v>14.77</c:v>
                </c:pt>
                <c:pt idx="120" formatCode="General">
                  <c:v>14.67</c:v>
                </c:pt>
                <c:pt idx="121" formatCode="General">
                  <c:v>15.25</c:v>
                </c:pt>
                <c:pt idx="122" formatCode="General">
                  <c:v>16.440000000000001</c:v>
                </c:pt>
                <c:pt idx="123" formatCode="General">
                  <c:v>15.47</c:v>
                </c:pt>
                <c:pt idx="124" formatCode="General">
                  <c:v>17.670000000000002</c:v>
                </c:pt>
                <c:pt idx="125" formatCode="General">
                  <c:v>16.850000000000001</c:v>
                </c:pt>
                <c:pt idx="126" formatCode="General">
                  <c:v>16.13</c:v>
                </c:pt>
                <c:pt idx="127" formatCode="General">
                  <c:v>17.28</c:v>
                </c:pt>
                <c:pt idx="128" formatCode="General">
                  <c:v>17.59</c:v>
                </c:pt>
                <c:pt idx="129" formatCode="General">
                  <c:v>16.93</c:v>
                </c:pt>
                <c:pt idx="130" formatCode="General">
                  <c:v>20.440000000000001</c:v>
                </c:pt>
                <c:pt idx="131" formatCode="General">
                  <c:v>16.98</c:v>
                </c:pt>
                <c:pt idx="132" formatCode="General">
                  <c:v>17.559999999999999</c:v>
                </c:pt>
                <c:pt idx="133">
                  <c:v>17.420000000000002</c:v>
                </c:pt>
                <c:pt idx="134">
                  <c:v>18.36</c:v>
                </c:pt>
                <c:pt idx="135">
                  <c:v>17.350000000000001</c:v>
                </c:pt>
                <c:pt idx="136">
                  <c:v>17.84</c:v>
                </c:pt>
                <c:pt idx="137">
                  <c:v>17.96</c:v>
                </c:pt>
                <c:pt idx="138">
                  <c:v>17.170000000000002</c:v>
                </c:pt>
                <c:pt idx="139">
                  <c:v>16.760000000000002</c:v>
                </c:pt>
                <c:pt idx="140">
                  <c:v>16.21</c:v>
                </c:pt>
                <c:pt idx="141">
                  <c:v>14.67</c:v>
                </c:pt>
                <c:pt idx="142">
                  <c:v>17.010000000000002</c:v>
                </c:pt>
                <c:pt idx="143">
                  <c:v>17.2</c:v>
                </c:pt>
                <c:pt idx="144">
                  <c:v>17.190000000000001</c:v>
                </c:pt>
                <c:pt idx="145">
                  <c:v>16.53</c:v>
                </c:pt>
                <c:pt idx="146">
                  <c:v>16.97</c:v>
                </c:pt>
                <c:pt idx="147">
                  <c:v>16.649999999999999</c:v>
                </c:pt>
                <c:pt idx="148">
                  <c:v>16.04</c:v>
                </c:pt>
                <c:pt idx="149">
                  <c:v>16.07</c:v>
                </c:pt>
                <c:pt idx="150">
                  <c:v>15.59</c:v>
                </c:pt>
                <c:pt idx="151">
                  <c:v>15.77</c:v>
                </c:pt>
                <c:pt idx="152">
                  <c:v>15.13</c:v>
                </c:pt>
                <c:pt idx="153">
                  <c:v>14.29</c:v>
                </c:pt>
                <c:pt idx="154">
                  <c:v>15</c:v>
                </c:pt>
                <c:pt idx="155">
                  <c:v>15.24</c:v>
                </c:pt>
                <c:pt idx="156">
                  <c:v>14.82</c:v>
                </c:pt>
                <c:pt idx="157">
                  <c:v>15.29</c:v>
                </c:pt>
                <c:pt idx="158">
                  <c:v>16.2</c:v>
                </c:pt>
                <c:pt idx="159">
                  <c:v>15.93</c:v>
                </c:pt>
                <c:pt idx="160">
                  <c:v>15.44</c:v>
                </c:pt>
                <c:pt idx="161">
                  <c:v>15.5</c:v>
                </c:pt>
                <c:pt idx="162">
                  <c:v>14.13</c:v>
                </c:pt>
                <c:pt idx="163" formatCode="General">
                  <c:v>15.27</c:v>
                </c:pt>
                <c:pt idx="164" formatCode="General">
                  <c:v>14.86</c:v>
                </c:pt>
                <c:pt idx="165">
                  <c:v>15.03</c:v>
                </c:pt>
                <c:pt idx="166">
                  <c:v>14.11</c:v>
                </c:pt>
                <c:pt idx="167">
                  <c:v>15.42</c:v>
                </c:pt>
                <c:pt idx="168">
                  <c:v>15.55</c:v>
                </c:pt>
                <c:pt idx="169">
                  <c:v>15.57</c:v>
                </c:pt>
                <c:pt idx="170">
                  <c:v>15.08</c:v>
                </c:pt>
                <c:pt idx="171">
                  <c:v>16.25</c:v>
                </c:pt>
                <c:pt idx="172">
                  <c:v>15.88</c:v>
                </c:pt>
                <c:pt idx="173">
                  <c:v>15.54</c:v>
                </c:pt>
                <c:pt idx="174">
                  <c:v>16.37</c:v>
                </c:pt>
                <c:pt idx="175">
                  <c:v>15.95</c:v>
                </c:pt>
                <c:pt idx="176">
                  <c:v>16.14</c:v>
                </c:pt>
                <c:pt idx="177">
                  <c:v>15.68</c:v>
                </c:pt>
                <c:pt idx="178">
                  <c:v>15.59</c:v>
                </c:pt>
                <c:pt idx="179">
                  <c:v>15.72</c:v>
                </c:pt>
                <c:pt idx="180">
                  <c:v>15.01</c:v>
                </c:pt>
                <c:pt idx="181">
                  <c:v>15.49</c:v>
                </c:pt>
                <c:pt idx="182">
                  <c:v>17.04</c:v>
                </c:pt>
                <c:pt idx="183">
                  <c:v>16.8</c:v>
                </c:pt>
                <c:pt idx="184">
                  <c:v>17.170000000000002</c:v>
                </c:pt>
                <c:pt idx="185">
                  <c:v>16.09</c:v>
                </c:pt>
                <c:pt idx="186">
                  <c:v>16.63</c:v>
                </c:pt>
                <c:pt idx="187">
                  <c:v>17.850000000000001</c:v>
                </c:pt>
                <c:pt idx="188">
                  <c:v>16.64</c:v>
                </c:pt>
                <c:pt idx="189">
                  <c:v>16.54</c:v>
                </c:pt>
                <c:pt idx="190">
                  <c:v>17.64</c:v>
                </c:pt>
                <c:pt idx="191">
                  <c:v>16.07</c:v>
                </c:pt>
                <c:pt idx="192" formatCode="#,##0.00">
                  <c:v>16.850000000000001</c:v>
                </c:pt>
                <c:pt idx="193" formatCode="#,##0.00">
                  <c:v>16.72</c:v>
                </c:pt>
                <c:pt idx="194" formatCode="#,##0.00">
                  <c:v>16.25</c:v>
                </c:pt>
                <c:pt idx="195" formatCode="#,##0.00">
                  <c:v>16.16</c:v>
                </c:pt>
                <c:pt idx="196" formatCode="#,##0.00">
                  <c:v>16.14</c:v>
                </c:pt>
                <c:pt idx="197" formatCode="#,##0.00">
                  <c:v>16.34</c:v>
                </c:pt>
                <c:pt idx="198" formatCode="#,##0.00">
                  <c:v>16.77</c:v>
                </c:pt>
                <c:pt idx="199" formatCode="#,##0.00">
                  <c:v>16.350000000000001</c:v>
                </c:pt>
                <c:pt idx="200" formatCode="#,##0.00">
                  <c:v>15.99</c:v>
                </c:pt>
                <c:pt idx="201" formatCode="#,##0.00">
                  <c:v>16.32</c:v>
                </c:pt>
                <c:pt idx="202" formatCode="#,##0.00">
                  <c:v>13.9</c:v>
                </c:pt>
                <c:pt idx="203" formatCode="#,##0.00">
                  <c:v>17.329999999999998</c:v>
                </c:pt>
                <c:pt idx="204" formatCode="#,##0.00">
                  <c:v>16.14</c:v>
                </c:pt>
                <c:pt idx="205" formatCode="#,##0.00">
                  <c:v>16.96</c:v>
                </c:pt>
                <c:pt idx="206" formatCode="#,##0.00">
                  <c:v>16.420000000000002</c:v>
                </c:pt>
                <c:pt idx="207" formatCode="#,##0.00">
                  <c:v>16.43</c:v>
                </c:pt>
                <c:pt idx="208" formatCode="#,##0.00">
                  <c:v>15.91</c:v>
                </c:pt>
                <c:pt idx="209" formatCode="#,##0.00">
                  <c:v>15.73</c:v>
                </c:pt>
                <c:pt idx="210" formatCode="#,##0.00">
                  <c:v>16.09</c:v>
                </c:pt>
                <c:pt idx="211" formatCode="#,##0.00">
                  <c:v>16.010000000000002</c:v>
                </c:pt>
                <c:pt idx="212" formatCode="#,##0.00">
                  <c:v>16.47</c:v>
                </c:pt>
                <c:pt idx="213" formatCode="#,##0.00">
                  <c:v>17.309999999999999</c:v>
                </c:pt>
                <c:pt idx="214" formatCode="#,##0.00">
                  <c:v>17.489999999999998</c:v>
                </c:pt>
                <c:pt idx="215" formatCode="#,##0.00">
                  <c:v>16.8</c:v>
                </c:pt>
                <c:pt idx="216" formatCode="#,##0.00">
                  <c:v>17.38</c:v>
                </c:pt>
                <c:pt idx="217" formatCode="#,##0.00">
                  <c:v>17.09</c:v>
                </c:pt>
                <c:pt idx="218" formatCode="#,##0.00">
                  <c:v>17.03</c:v>
                </c:pt>
                <c:pt idx="219" formatCode="#,##0.00">
                  <c:v>17.55</c:v>
                </c:pt>
                <c:pt idx="220" formatCode="#,##0.00">
                  <c:v>18.03</c:v>
                </c:pt>
                <c:pt idx="221" formatCode="#,##0.00">
                  <c:v>18.600000000000001</c:v>
                </c:pt>
                <c:pt idx="222" formatCode="#,##0.00">
                  <c:v>19.010000000000002</c:v>
                </c:pt>
                <c:pt idx="223" formatCode="#,##0.00">
                  <c:v>21.35</c:v>
                </c:pt>
                <c:pt idx="224" formatCode="#,##0.00">
                  <c:v>19.18</c:v>
                </c:pt>
                <c:pt idx="225" formatCode="#,##0.00">
                  <c:v>18.260000000000002</c:v>
                </c:pt>
                <c:pt idx="226" formatCode="#,##0.00">
                  <c:v>17.95</c:v>
                </c:pt>
                <c:pt idx="227" formatCode="#,##0.00">
                  <c:v>19.22</c:v>
                </c:pt>
                <c:pt idx="228" formatCode="#,##0.00">
                  <c:v>18.72</c:v>
                </c:pt>
                <c:pt idx="229" formatCode="#,##0.00">
                  <c:v>18.920000000000002</c:v>
                </c:pt>
                <c:pt idx="230" formatCode="#,##0.00">
                  <c:v>19.350000000000001</c:v>
                </c:pt>
                <c:pt idx="231" formatCode="#,##0.00">
                  <c:v>19.059999999999999</c:v>
                </c:pt>
                <c:pt idx="232" formatCode="#,##0.00">
                  <c:v>19.97</c:v>
                </c:pt>
                <c:pt idx="233" formatCode="#,##0.00">
                  <c:v>19.850000000000001</c:v>
                </c:pt>
                <c:pt idx="234" formatCode="#,##0.00">
                  <c:v>20.8</c:v>
                </c:pt>
                <c:pt idx="235" formatCode="#,##0.00">
                  <c:v>20.32</c:v>
                </c:pt>
                <c:pt idx="236" formatCode="#,##0.00">
                  <c:v>20.18</c:v>
                </c:pt>
                <c:pt idx="237" formatCode="#,##0.00">
                  <c:v>20.29</c:v>
                </c:pt>
                <c:pt idx="238" formatCode="#,##0.00">
                  <c:v>20.07</c:v>
                </c:pt>
                <c:pt idx="239" formatCode="#,##0.00">
                  <c:v>20.350000000000001</c:v>
                </c:pt>
                <c:pt idx="240" formatCode="#,##0.00">
                  <c:v>20.04</c:v>
                </c:pt>
                <c:pt idx="241" formatCode="#,##0.00">
                  <c:v>19.8</c:v>
                </c:pt>
                <c:pt idx="242" formatCode="#,##0.00">
                  <c:v>21.18</c:v>
                </c:pt>
                <c:pt idx="243" formatCode="#,##0.00">
                  <c:v>19.93</c:v>
                </c:pt>
                <c:pt idx="244" formatCode="#,##0.00">
                  <c:v>20.22</c:v>
                </c:pt>
                <c:pt idx="245" formatCode="#,##0.00">
                  <c:v>20.63</c:v>
                </c:pt>
                <c:pt idx="246" formatCode="#,##0.00">
                  <c:v>18.420000000000002</c:v>
                </c:pt>
                <c:pt idx="247" formatCode="#,##0.00">
                  <c:v>17.88</c:v>
                </c:pt>
                <c:pt idx="248" formatCode="#,##0.00">
                  <c:v>17.329999999999998</c:v>
                </c:pt>
                <c:pt idx="249" formatCode="#,##0.00">
                  <c:v>16.29</c:v>
                </c:pt>
                <c:pt idx="250" formatCode="#,##0.00">
                  <c:v>17.91</c:v>
                </c:pt>
                <c:pt idx="251" formatCode="#,##0.00">
                  <c:v>18.25</c:v>
                </c:pt>
                <c:pt idx="252" formatCode="#,##0.00">
                  <c:v>16.440000000000001</c:v>
                </c:pt>
                <c:pt idx="253" formatCode="#,##0.00">
                  <c:v>18.329999999999998</c:v>
                </c:pt>
                <c:pt idx="254" formatCode="#,##0.00">
                  <c:v>18.579999999999998</c:v>
                </c:pt>
                <c:pt idx="255" formatCode="#,##0.00">
                  <c:v>19.14</c:v>
                </c:pt>
                <c:pt idx="256" formatCode="#,##0.00">
                  <c:v>21.87</c:v>
                </c:pt>
                <c:pt idx="257" formatCode="#,##0.00">
                  <c:v>19.690000000000001</c:v>
                </c:pt>
                <c:pt idx="258" formatCode="#,##0.00">
                  <c:v>19.02</c:v>
                </c:pt>
                <c:pt idx="259" formatCode="#,##0.00">
                  <c:v>18.329999999999998</c:v>
                </c:pt>
                <c:pt idx="260" formatCode="#,##0.00">
                  <c:v>18.940000000000001</c:v>
                </c:pt>
                <c:pt idx="261" formatCode="#,##0.00">
                  <c:v>18.46</c:v>
                </c:pt>
                <c:pt idx="262" formatCode="#,##0.00">
                  <c:v>18.739999999999998</c:v>
                </c:pt>
                <c:pt idx="263" formatCode="#,##0.00">
                  <c:v>17.36</c:v>
                </c:pt>
                <c:pt idx="264" formatCode="#,##0.00">
                  <c:v>18.82</c:v>
                </c:pt>
                <c:pt idx="265" formatCode="#,##0.00">
                  <c:v>21.35</c:v>
                </c:pt>
                <c:pt idx="266" formatCode="#,##0.00">
                  <c:v>20.49</c:v>
                </c:pt>
                <c:pt idx="267" formatCode="#,##0.00">
                  <c:v>19.260000000000002</c:v>
                </c:pt>
                <c:pt idx="268" formatCode="#,##0.00">
                  <c:v>19.93</c:v>
                </c:pt>
                <c:pt idx="269" formatCode="#,##0.00">
                  <c:v>20.57</c:v>
                </c:pt>
                <c:pt idx="270" formatCode="#,##0.00">
                  <c:v>21.22</c:v>
                </c:pt>
                <c:pt idx="271" formatCode="#,##0.00">
                  <c:v>17.39</c:v>
                </c:pt>
                <c:pt idx="272" formatCode="#,##0.00">
                  <c:v>21.99</c:v>
                </c:pt>
                <c:pt idx="273" formatCode="#,##0.00">
                  <c:v>19.45</c:v>
                </c:pt>
                <c:pt idx="274" formatCode="#,##0.00">
                  <c:v>21.46</c:v>
                </c:pt>
                <c:pt idx="275" formatCode="#,##0.00">
                  <c:v>20.9</c:v>
                </c:pt>
                <c:pt idx="276" formatCode="#,##0.00">
                  <c:v>17.329999999999998</c:v>
                </c:pt>
                <c:pt idx="277" formatCode="#,##0.00">
                  <c:v>18.79</c:v>
                </c:pt>
                <c:pt idx="278" formatCode="#,##0.00">
                  <c:v>19.899999999999999</c:v>
                </c:pt>
                <c:pt idx="279" formatCode="#,##0.00">
                  <c:v>21.18</c:v>
                </c:pt>
                <c:pt idx="280" formatCode="#,##0.00">
                  <c:v>20.41</c:v>
                </c:pt>
                <c:pt idx="281" formatCode="#,##0.00">
                  <c:v>21.1</c:v>
                </c:pt>
                <c:pt idx="282" formatCode="#,##0.00">
                  <c:v>20.5</c:v>
                </c:pt>
                <c:pt idx="283" formatCode="#,##0.00">
                  <c:v>20.2</c:v>
                </c:pt>
                <c:pt idx="284" formatCode="#,##0.00">
                  <c:v>18.16</c:v>
                </c:pt>
                <c:pt idx="285" formatCode="#,##0.00">
                  <c:v>17.579999999999998</c:v>
                </c:pt>
                <c:pt idx="286" formatCode="#,##0.00">
                  <c:v>17.61</c:v>
                </c:pt>
                <c:pt idx="287" formatCode="#,##0.00">
                  <c:v>18.48</c:v>
                </c:pt>
                <c:pt idx="288" formatCode="#,##0.00">
                  <c:v>18.36</c:v>
                </c:pt>
                <c:pt idx="289" formatCode="#,##0.00">
                  <c:v>17.399999999999999</c:v>
                </c:pt>
                <c:pt idx="290" formatCode="#,##0.00">
                  <c:v>18.2</c:v>
                </c:pt>
                <c:pt idx="291" formatCode="#,##0.00">
                  <c:v>18.25</c:v>
                </c:pt>
                <c:pt idx="292" formatCode="#,##0.00">
                  <c:v>21.29</c:v>
                </c:pt>
                <c:pt idx="293" formatCode="#,##0.00">
                  <c:v>20.7</c:v>
                </c:pt>
                <c:pt idx="294" formatCode="#,##0.00">
                  <c:v>20.73</c:v>
                </c:pt>
                <c:pt idx="295" formatCode="#,##0.00">
                  <c:v>20.67</c:v>
                </c:pt>
                <c:pt idx="296" formatCode="#,##0.00">
                  <c:v>20.7</c:v>
                </c:pt>
                <c:pt idx="297" formatCode="#,##0.00">
                  <c:v>19.09</c:v>
                </c:pt>
                <c:pt idx="298" formatCode="#,##0.00">
                  <c:v>19.36</c:v>
                </c:pt>
                <c:pt idx="299" formatCode="#,##0.00">
                  <c:v>18.93</c:v>
                </c:pt>
                <c:pt idx="300" formatCode="#,##0.00">
                  <c:v>20.02</c:v>
                </c:pt>
                <c:pt idx="301" formatCode="#,##0.00">
                  <c:v>20.83</c:v>
                </c:pt>
                <c:pt idx="302" formatCode="#,##0.00">
                  <c:v>20.170000000000002</c:v>
                </c:pt>
                <c:pt idx="303" formatCode="#,##0.00">
                  <c:v>19.809999999999999</c:v>
                </c:pt>
                <c:pt idx="304" formatCode="#,##0.00">
                  <c:v>19.600000000000001</c:v>
                </c:pt>
                <c:pt idx="305" formatCode="#,##0.00">
                  <c:v>18.66</c:v>
                </c:pt>
                <c:pt idx="306" formatCode="#,##0.00">
                  <c:v>19.54</c:v>
                </c:pt>
                <c:pt idx="307" formatCode="#,##0.00">
                  <c:v>19.440000000000001</c:v>
                </c:pt>
                <c:pt idx="308" formatCode="#,##0.00">
                  <c:v>19.61</c:v>
                </c:pt>
                <c:pt idx="309" formatCode="#,##0.00">
                  <c:v>19.27</c:v>
                </c:pt>
                <c:pt idx="310" formatCode="#,##0.00">
                  <c:v>19.989999999999998</c:v>
                </c:pt>
                <c:pt idx="311" formatCode="#,##0.00">
                  <c:v>19.21</c:v>
                </c:pt>
                <c:pt idx="312" formatCode="#,##0.00">
                  <c:v>20.329999999999998</c:v>
                </c:pt>
                <c:pt idx="313" formatCode="#,##0.00">
                  <c:v>19.5</c:v>
                </c:pt>
                <c:pt idx="314" formatCode="#,##0.00">
                  <c:v>20.81</c:v>
                </c:pt>
                <c:pt idx="315" formatCode="#,##0.00">
                  <c:v>18.739999999999998</c:v>
                </c:pt>
                <c:pt idx="316" formatCode="#,##0.00">
                  <c:v>19.89</c:v>
                </c:pt>
                <c:pt idx="317" formatCode="#,##0.00">
                  <c:v>20.100000000000001</c:v>
                </c:pt>
                <c:pt idx="318" formatCode="#,##0.00">
                  <c:v>20.55</c:v>
                </c:pt>
                <c:pt idx="319" formatCode="#,##0.00">
                  <c:v>20.3</c:v>
                </c:pt>
                <c:pt idx="320" formatCode="#,##0.00">
                  <c:v>23.66</c:v>
                </c:pt>
                <c:pt idx="321" formatCode="#,##0.00">
                  <c:v>20.32</c:v>
                </c:pt>
                <c:pt idx="322" formatCode="#,##0.00">
                  <c:v>20.83</c:v>
                </c:pt>
                <c:pt idx="323" formatCode="#,##0.00">
                  <c:v>20.64</c:v>
                </c:pt>
                <c:pt idx="324" formatCode="#,##0.00">
                  <c:v>21.06</c:v>
                </c:pt>
                <c:pt idx="325" formatCode="#,##0.00">
                  <c:v>20.9</c:v>
                </c:pt>
                <c:pt idx="326" formatCode="#,##0.00">
                  <c:v>20.02</c:v>
                </c:pt>
                <c:pt idx="327" formatCode="#,##0.00">
                  <c:v>20.67</c:v>
                </c:pt>
                <c:pt idx="328" formatCode="#,##0.00">
                  <c:v>21.41</c:v>
                </c:pt>
                <c:pt idx="329" formatCode="#,##0.00">
                  <c:v>21.82</c:v>
                </c:pt>
                <c:pt idx="330" formatCode="#,##0.00">
                  <c:v>20.69</c:v>
                </c:pt>
                <c:pt idx="331" formatCode="#,##0.00">
                  <c:v>22.12</c:v>
                </c:pt>
                <c:pt idx="332" formatCode="#,##0.00">
                  <c:v>21.28</c:v>
                </c:pt>
                <c:pt idx="333" formatCode="#,##0.00">
                  <c:v>22.1</c:v>
                </c:pt>
                <c:pt idx="334" formatCode="#,##0.00">
                  <c:v>22.3</c:v>
                </c:pt>
                <c:pt idx="335" formatCode="#,##0.00">
                  <c:v>23.18</c:v>
                </c:pt>
                <c:pt idx="336" formatCode="#,##0.00">
                  <c:v>23.64</c:v>
                </c:pt>
                <c:pt idx="337" formatCode="#,##0.00">
                  <c:v>22.9</c:v>
                </c:pt>
                <c:pt idx="338" formatCode="#,##0.00">
                  <c:v>21.66</c:v>
                </c:pt>
                <c:pt idx="339" formatCode="#,##0.00">
                  <c:v>21.31</c:v>
                </c:pt>
                <c:pt idx="340" formatCode="#,##0.00">
                  <c:v>25.22</c:v>
                </c:pt>
                <c:pt idx="341" formatCode="#,##0.00">
                  <c:v>27.02</c:v>
                </c:pt>
                <c:pt idx="342" formatCode="#,##0.00">
                  <c:v>27.27</c:v>
                </c:pt>
                <c:pt idx="343" formatCode="#,##0.00">
                  <c:v>27.75</c:v>
                </c:pt>
                <c:pt idx="344" formatCode="#,##0.00">
                  <c:v>26.16</c:v>
                </c:pt>
                <c:pt idx="345" formatCode="#,##0.00">
                  <c:v>26.83</c:v>
                </c:pt>
                <c:pt idx="346" formatCode="#,##0.00">
                  <c:v>27.92</c:v>
                </c:pt>
                <c:pt idx="347" formatCode="#,##0.00">
                  <c:v>28.43</c:v>
                </c:pt>
                <c:pt idx="348" formatCode="#,##0.00">
                  <c:v>26.14</c:v>
                </c:pt>
                <c:pt idx="349" formatCode="#,##0.00">
                  <c:v>27.87</c:v>
                </c:pt>
                <c:pt idx="350" formatCode="#,##0.00">
                  <c:v>27.4</c:v>
                </c:pt>
                <c:pt idx="351" formatCode="#,##0.00">
                  <c:v>27.84</c:v>
                </c:pt>
                <c:pt idx="352" formatCode="#,##0.00">
                  <c:v>29.43</c:v>
                </c:pt>
                <c:pt idx="353" formatCode="#,##0.00">
                  <c:v>28.97</c:v>
                </c:pt>
                <c:pt idx="354" formatCode="#,##0.00">
                  <c:v>30.2</c:v>
                </c:pt>
                <c:pt idx="355" formatCode="#,##0.00">
                  <c:v>29.69</c:v>
                </c:pt>
                <c:pt idx="356" formatCode="#,##0.00">
                  <c:v>30</c:v>
                </c:pt>
                <c:pt idx="357" formatCode="#,##0.00">
                  <c:v>29.11</c:v>
                </c:pt>
                <c:pt idx="358" formatCode="#,##0.00">
                  <c:v>29.77</c:v>
                </c:pt>
                <c:pt idx="359" formatCode="#,##0.00">
                  <c:v>28.48</c:v>
                </c:pt>
                <c:pt idx="360" formatCode="#,##0.00">
                  <c:v>31.95</c:v>
                </c:pt>
                <c:pt idx="361" formatCode="#,##0.00">
                  <c:v>30.38</c:v>
                </c:pt>
                <c:pt idx="362" formatCode="#,##0.00">
                  <c:v>32.4</c:v>
                </c:pt>
                <c:pt idx="363" formatCode="#,##0.00">
                  <c:v>31.43</c:v>
                </c:pt>
                <c:pt idx="364" formatCode="#,##0.00">
                  <c:v>33.81</c:v>
                </c:pt>
                <c:pt idx="365" formatCode="#,##0.00">
                  <c:v>33.65</c:v>
                </c:pt>
                <c:pt idx="366" formatCode="#,##0.00">
                  <c:v>35.06</c:v>
                </c:pt>
                <c:pt idx="367" formatCode="#,##0.00">
                  <c:v>34.380000000000003</c:v>
                </c:pt>
                <c:pt idx="368" formatCode="#,##0.00">
                  <c:v>34.29</c:v>
                </c:pt>
                <c:pt idx="369" formatCode="#,##0.00">
                  <c:v>29.99</c:v>
                </c:pt>
                <c:pt idx="370" formatCode="#,##0.00">
                  <c:v>32.51</c:v>
                </c:pt>
                <c:pt idx="371" formatCode="#,##0.00">
                  <c:v>32.82</c:v>
                </c:pt>
                <c:pt idx="372" formatCode="#,##0.00">
                  <c:v>32.159999999999997</c:v>
                </c:pt>
                <c:pt idx="373" formatCode="#,##0.00">
                  <c:v>33.39</c:v>
                </c:pt>
                <c:pt idx="374" formatCode="#,##0.00">
                  <c:v>32.76</c:v>
                </c:pt>
                <c:pt idx="375" formatCode="#,##0.00">
                  <c:v>32.71</c:v>
                </c:pt>
                <c:pt idx="376" formatCode="#,##0.00">
                  <c:v>34.700000000000003</c:v>
                </c:pt>
                <c:pt idx="377" formatCode="#,##0.00">
                  <c:v>32.979999999999997</c:v>
                </c:pt>
                <c:pt idx="378" formatCode="#,##0.00">
                  <c:v>35.64</c:v>
                </c:pt>
                <c:pt idx="379" formatCode="#,##0.00">
                  <c:v>34.72</c:v>
                </c:pt>
                <c:pt idx="380" formatCode="#,##0.00">
                  <c:v>34.85</c:v>
                </c:pt>
                <c:pt idx="381" formatCode="#,##0.00">
                  <c:v>37.380000000000003</c:v>
                </c:pt>
                <c:pt idx="382" formatCode="#,##0.00">
                  <c:v>37.42</c:v>
                </c:pt>
                <c:pt idx="383" formatCode="#,##0.00">
                  <c:v>33.229999999999997</c:v>
                </c:pt>
                <c:pt idx="384" formatCode="#,##0.00">
                  <c:v>34.799999999999997</c:v>
                </c:pt>
                <c:pt idx="385" formatCode="#,##0.00">
                  <c:v>34.33</c:v>
                </c:pt>
                <c:pt idx="386" formatCode="#,##0.00">
                  <c:v>36.020000000000003</c:v>
                </c:pt>
                <c:pt idx="387" formatCode="#,##0.00">
                  <c:v>37.03</c:v>
                </c:pt>
                <c:pt idx="388" formatCode="#,##0.00">
                  <c:v>39.04</c:v>
                </c:pt>
                <c:pt idx="389" formatCode="#,##0.00">
                  <c:v>35.840000000000003</c:v>
                </c:pt>
                <c:pt idx="390" formatCode="#,##0.00">
                  <c:v>36.29</c:v>
                </c:pt>
                <c:pt idx="391" formatCode="#,##0.00">
                  <c:v>35.409999999999997</c:v>
                </c:pt>
                <c:pt idx="392" formatCode="#,##0.00">
                  <c:v>36.700000000000003</c:v>
                </c:pt>
                <c:pt idx="393" formatCode="#,##0.00">
                  <c:v>34.72</c:v>
                </c:pt>
                <c:pt idx="394" formatCode="#,##0.00">
                  <c:v>36.42</c:v>
                </c:pt>
                <c:pt idx="395" formatCode="#,##0.00">
                  <c:v>36.619999999999997</c:v>
                </c:pt>
                <c:pt idx="396" formatCode="#,##0.00">
                  <c:v>36.44</c:v>
                </c:pt>
                <c:pt idx="397" formatCode="#,##0.00">
                  <c:v>35.770000000000003</c:v>
                </c:pt>
                <c:pt idx="398" formatCode="#,##0.00">
                  <c:v>31.65</c:v>
                </c:pt>
                <c:pt idx="399" formatCode="#,##0.00">
                  <c:v>33.619999999999997</c:v>
                </c:pt>
                <c:pt idx="400" formatCode="#,##0.00">
                  <c:v>31.28</c:v>
                </c:pt>
                <c:pt idx="401" formatCode="#,##0.00">
                  <c:v>32.96</c:v>
                </c:pt>
                <c:pt idx="402" formatCode="#,##0.00">
                  <c:v>31.56</c:v>
                </c:pt>
                <c:pt idx="403" formatCode="#,##0.00">
                  <c:v>33.549999999999997</c:v>
                </c:pt>
                <c:pt idx="404" formatCode="#,##0.00">
                  <c:v>32.32</c:v>
                </c:pt>
                <c:pt idx="405" formatCode="#,##0.00">
                  <c:v>32.94</c:v>
                </c:pt>
                <c:pt idx="406" formatCode="#,##0.00">
                  <c:v>33.28</c:v>
                </c:pt>
                <c:pt idx="407" formatCode="#,##0.00">
                  <c:v>35.200000000000003</c:v>
                </c:pt>
                <c:pt idx="408" formatCode="#,##0.00">
                  <c:v>33.96</c:v>
                </c:pt>
                <c:pt idx="409" formatCode="#,##0.00">
                  <c:v>33.17</c:v>
                </c:pt>
                <c:pt idx="410" formatCode="#,##0.00">
                  <c:v>32.6</c:v>
                </c:pt>
                <c:pt idx="411" formatCode="#,##0.00">
                  <c:v>32.57</c:v>
                </c:pt>
                <c:pt idx="412" formatCode="#,##0.00">
                  <c:v>32.01</c:v>
                </c:pt>
                <c:pt idx="413" formatCode="#,##0.00">
                  <c:v>32.15</c:v>
                </c:pt>
                <c:pt idx="414" formatCode="#,##0.00">
                  <c:v>31.77</c:v>
                </c:pt>
                <c:pt idx="415" formatCode="#,##0.00">
                  <c:v>32.369999999999997</c:v>
                </c:pt>
                <c:pt idx="416" formatCode="#,##0.00">
                  <c:v>34.33</c:v>
                </c:pt>
                <c:pt idx="417" formatCode="#,##0.00">
                  <c:v>33.08</c:v>
                </c:pt>
                <c:pt idx="418" formatCode="#,##0.00">
                  <c:v>34.24</c:v>
                </c:pt>
                <c:pt idx="419" formatCode="#,##0.00">
                  <c:v>35.56</c:v>
                </c:pt>
                <c:pt idx="420" formatCode="#,##0.00">
                  <c:v>35.99</c:v>
                </c:pt>
                <c:pt idx="421" formatCode="#,##0.00">
                  <c:v>35.19</c:v>
                </c:pt>
                <c:pt idx="422" formatCode="#,##0.00">
                  <c:v>34.33</c:v>
                </c:pt>
                <c:pt idx="423" formatCode="#,##0.00">
                  <c:v>33.729999999999997</c:v>
                </c:pt>
                <c:pt idx="424" formatCode="#,##0.00">
                  <c:v>32.950000000000003</c:v>
                </c:pt>
                <c:pt idx="425" formatCode="#,##0.00">
                  <c:v>33.65</c:v>
                </c:pt>
                <c:pt idx="426" formatCode="#,##0.00">
                  <c:v>34.159999999999997</c:v>
                </c:pt>
                <c:pt idx="427" formatCode="#,##0.00">
                  <c:v>32.17</c:v>
                </c:pt>
                <c:pt idx="428" formatCode="#,##0.00">
                  <c:v>32.869999999999997</c:v>
                </c:pt>
                <c:pt idx="429" formatCode="#,##0.00">
                  <c:v>32.69</c:v>
                </c:pt>
                <c:pt idx="430" formatCode="#,##0.00">
                  <c:v>31.48</c:v>
                </c:pt>
                <c:pt idx="431" formatCode="#,##0.00">
                  <c:v>32.700000000000003</c:v>
                </c:pt>
                <c:pt idx="432" formatCode="#,##0.00">
                  <c:v>33.26</c:v>
                </c:pt>
                <c:pt idx="433" formatCode="#,##0.00">
                  <c:v>29.91</c:v>
                </c:pt>
                <c:pt idx="434" formatCode="#,##0.00">
                  <c:v>33.94</c:v>
                </c:pt>
                <c:pt idx="435" formatCode="#,##0.00">
                  <c:v>31.44</c:v>
                </c:pt>
                <c:pt idx="436" formatCode="#,##0.00">
                  <c:v>32.380000000000003</c:v>
                </c:pt>
                <c:pt idx="437" formatCode="#,##0.00">
                  <c:v>33.93</c:v>
                </c:pt>
                <c:pt idx="439" formatCode="#,##0.00">
                  <c:v>31.14</c:v>
                </c:pt>
                <c:pt idx="440" formatCode="#,##0.00">
                  <c:v>28</c:v>
                </c:pt>
                <c:pt idx="441" formatCode="#,##0.00">
                  <c:v>27.57</c:v>
                </c:pt>
                <c:pt idx="442" formatCode="#,##0.00">
                  <c:v>29.75</c:v>
                </c:pt>
                <c:pt idx="443" formatCode="#,##0.00">
                  <c:v>30.77</c:v>
                </c:pt>
                <c:pt idx="444" formatCode="#,##0.00">
                  <c:v>31.51</c:v>
                </c:pt>
                <c:pt idx="445" formatCode="#,##0.00">
                  <c:v>29.33</c:v>
                </c:pt>
                <c:pt idx="446" formatCode="#,##0.00">
                  <c:v>29.73</c:v>
                </c:pt>
                <c:pt idx="447" formatCode="#,##0.00">
                  <c:v>29.27</c:v>
                </c:pt>
                <c:pt idx="448" formatCode="#,##0.00">
                  <c:v>23.56</c:v>
                </c:pt>
                <c:pt idx="449" formatCode="#,##0.00">
                  <c:v>27.27</c:v>
                </c:pt>
                <c:pt idx="450" formatCode="#,##0.00">
                  <c:v>26.35</c:v>
                </c:pt>
                <c:pt idx="451" formatCode="#,##0.00">
                  <c:v>26.28</c:v>
                </c:pt>
                <c:pt idx="452" formatCode="#,##0.00">
                  <c:v>30.31</c:v>
                </c:pt>
                <c:pt idx="453" formatCode="#,##0.00">
                  <c:v>28.03</c:v>
                </c:pt>
                <c:pt idx="454" formatCode="#,##0.00">
                  <c:v>26.97</c:v>
                </c:pt>
                <c:pt idx="455" formatCode="#,##0.00">
                  <c:v>27.31</c:v>
                </c:pt>
                <c:pt idx="456" formatCode="#,##0.00">
                  <c:v>29.02</c:v>
                </c:pt>
                <c:pt idx="457" formatCode="#,##0.00">
                  <c:v>28.19</c:v>
                </c:pt>
                <c:pt idx="458" formatCode="#,##0.00">
                  <c:v>28.57</c:v>
                </c:pt>
                <c:pt idx="459" formatCode="#,##0.00">
                  <c:v>26.21</c:v>
                </c:pt>
                <c:pt idx="460" formatCode="#,##0.00">
                  <c:v>27.76</c:v>
                </c:pt>
                <c:pt idx="461" formatCode="#,##0.00">
                  <c:v>26.73</c:v>
                </c:pt>
                <c:pt idx="462" formatCode="#,##0.00">
                  <c:v>26.35</c:v>
                </c:pt>
                <c:pt idx="463" formatCode="#,##0.00">
                  <c:v>26.36</c:v>
                </c:pt>
                <c:pt idx="464" formatCode="#,##0.00">
                  <c:v>27.49</c:v>
                </c:pt>
                <c:pt idx="465" formatCode="#,##0.00">
                  <c:v>28.31</c:v>
                </c:pt>
                <c:pt idx="466" formatCode="#,##0.00">
                  <c:v>27.42</c:v>
                </c:pt>
                <c:pt idx="467" formatCode="#,##0.00">
                  <c:v>25.87</c:v>
                </c:pt>
                <c:pt idx="468" formatCode="General">
                  <c:v>28.67</c:v>
                </c:pt>
                <c:pt idx="469" formatCode="General">
                  <c:v>28.45</c:v>
                </c:pt>
                <c:pt idx="470" formatCode="General">
                  <c:v>29.42</c:v>
                </c:pt>
                <c:pt idx="471" formatCode="General">
                  <c:v>27.88</c:v>
                </c:pt>
                <c:pt idx="472" formatCode="General">
                  <c:v>29.21</c:v>
                </c:pt>
                <c:pt idx="473" formatCode="General">
                  <c:v>27.6</c:v>
                </c:pt>
                <c:pt idx="474" formatCode="General">
                  <c:v>29.94</c:v>
                </c:pt>
                <c:pt idx="475" formatCode="General">
                  <c:v>29.04</c:v>
                </c:pt>
                <c:pt idx="476" formatCode="General">
                  <c:v>27.11</c:v>
                </c:pt>
                <c:pt idx="477" formatCode="General">
                  <c:v>29.15</c:v>
                </c:pt>
                <c:pt idx="478" formatCode="General">
                  <c:v>29.29</c:v>
                </c:pt>
                <c:pt idx="479" formatCode="General">
                  <c:v>28.95</c:v>
                </c:pt>
                <c:pt idx="480" formatCode="General">
                  <c:v>30.09</c:v>
                </c:pt>
                <c:pt idx="481" formatCode="General">
                  <c:v>29.04</c:v>
                </c:pt>
                <c:pt idx="482" formatCode="General">
                  <c:v>27.33</c:v>
                </c:pt>
                <c:pt idx="483" formatCode="General">
                  <c:v>27.14</c:v>
                </c:pt>
                <c:pt idx="495" formatCode="General">
                  <c:v>31.1</c:v>
                </c:pt>
                <c:pt idx="496" formatCode="General">
                  <c:v>29.59</c:v>
                </c:pt>
                <c:pt idx="497" formatCode="General">
                  <c:v>29</c:v>
                </c:pt>
                <c:pt idx="498" formatCode="General">
                  <c:v>24.66</c:v>
                </c:pt>
                <c:pt idx="499" formatCode="General">
                  <c:v>27.6</c:v>
                </c:pt>
                <c:pt idx="500" formatCode="General">
                  <c:v>26.12</c:v>
                </c:pt>
                <c:pt idx="501" formatCode="General">
                  <c:v>31.4</c:v>
                </c:pt>
                <c:pt idx="502" formatCode="General">
                  <c:v>27.53</c:v>
                </c:pt>
                <c:pt idx="503" formatCode="General">
                  <c:v>27.33</c:v>
                </c:pt>
                <c:pt idx="504" formatCode="General">
                  <c:v>25.46</c:v>
                </c:pt>
                <c:pt idx="505" formatCode="General">
                  <c:v>24.92</c:v>
                </c:pt>
                <c:pt idx="506" formatCode="General">
                  <c:v>26.93</c:v>
                </c:pt>
                <c:pt idx="507" formatCode="General">
                  <c:v>27.29</c:v>
                </c:pt>
                <c:pt idx="508" formatCode="General">
                  <c:v>27.54</c:v>
                </c:pt>
                <c:pt idx="509" formatCode="General">
                  <c:v>28.68</c:v>
                </c:pt>
                <c:pt idx="510" formatCode="General">
                  <c:v>28.84</c:v>
                </c:pt>
                <c:pt idx="511" formatCode="General">
                  <c:v>28.01</c:v>
                </c:pt>
                <c:pt idx="512" formatCode="General">
                  <c:v>27.21</c:v>
                </c:pt>
                <c:pt idx="513" formatCode="General">
                  <c:v>28.77</c:v>
                </c:pt>
                <c:pt idx="514" formatCode="General">
                  <c:v>29.62</c:v>
                </c:pt>
                <c:pt idx="515" formatCode="General">
                  <c:v>29.31</c:v>
                </c:pt>
                <c:pt idx="516" formatCode="General">
                  <c:v>31.39</c:v>
                </c:pt>
                <c:pt idx="517" formatCode="General">
                  <c:v>28.58</c:v>
                </c:pt>
                <c:pt idx="518" formatCode="General">
                  <c:v>31.15</c:v>
                </c:pt>
                <c:pt idx="519" formatCode="General">
                  <c:v>30.25</c:v>
                </c:pt>
                <c:pt idx="520" formatCode="General">
                  <c:v>30.78</c:v>
                </c:pt>
                <c:pt idx="521" formatCode="General">
                  <c:v>30.87</c:v>
                </c:pt>
                <c:pt idx="522" formatCode="General">
                  <c:v>34.619999999999997</c:v>
                </c:pt>
                <c:pt idx="523" formatCode="General">
                  <c:v>31.97</c:v>
                </c:pt>
                <c:pt idx="524" formatCode="General">
                  <c:v>30.69</c:v>
                </c:pt>
                <c:pt idx="525" formatCode="General">
                  <c:v>31.31</c:v>
                </c:pt>
                <c:pt idx="526" formatCode="General">
                  <c:v>36.950000000000003</c:v>
                </c:pt>
                <c:pt idx="527" formatCode="General">
                  <c:v>33.06</c:v>
                </c:pt>
                <c:pt idx="528" formatCode="General">
                  <c:v>33.25</c:v>
                </c:pt>
                <c:pt idx="529" formatCode="General">
                  <c:v>35.19</c:v>
                </c:pt>
                <c:pt idx="530" formatCode="General">
                  <c:v>35.86</c:v>
                </c:pt>
                <c:pt idx="531" formatCode="General">
                  <c:v>36.479999999999997</c:v>
                </c:pt>
                <c:pt idx="532" formatCode="General">
                  <c:v>36.229999999999997</c:v>
                </c:pt>
                <c:pt idx="533" formatCode="General">
                  <c:v>36.549999999999997</c:v>
                </c:pt>
                <c:pt idx="534" formatCode="General">
                  <c:v>35.549999999999997</c:v>
                </c:pt>
                <c:pt idx="535" formatCode="General">
                  <c:v>32.43</c:v>
                </c:pt>
                <c:pt idx="536" formatCode="General">
                  <c:v>36.1</c:v>
                </c:pt>
                <c:pt idx="537" formatCode="General">
                  <c:v>37.57</c:v>
                </c:pt>
                <c:pt idx="538" formatCode="General">
                  <c:v>37.549999999999997</c:v>
                </c:pt>
                <c:pt idx="539" formatCode="General">
                  <c:v>37.32</c:v>
                </c:pt>
                <c:pt idx="540" formatCode="General">
                  <c:v>37.28</c:v>
                </c:pt>
                <c:pt idx="541" formatCode="General">
                  <c:v>38.32</c:v>
                </c:pt>
                <c:pt idx="542" formatCode="General">
                  <c:v>38.67</c:v>
                </c:pt>
                <c:pt idx="543" formatCode="General">
                  <c:v>36.68</c:v>
                </c:pt>
                <c:pt idx="544" formatCode="General">
                  <c:v>34.51</c:v>
                </c:pt>
                <c:pt idx="545" formatCode="General">
                  <c:v>36.06</c:v>
                </c:pt>
                <c:pt idx="546" formatCode="General">
                  <c:v>33.64</c:v>
                </c:pt>
                <c:pt idx="547" formatCode="General">
                  <c:v>32.229999999999997</c:v>
                </c:pt>
                <c:pt idx="548" formatCode="General">
                  <c:v>35.65</c:v>
                </c:pt>
                <c:pt idx="549" formatCode="General">
                  <c:v>35.42</c:v>
                </c:pt>
                <c:pt idx="550" formatCode="General">
                  <c:v>35.89</c:v>
                </c:pt>
                <c:pt idx="551" formatCode="General">
                  <c:v>35.799999999999997</c:v>
                </c:pt>
                <c:pt idx="552" formatCode="General">
                  <c:v>35.72</c:v>
                </c:pt>
                <c:pt idx="553" formatCode="General">
                  <c:v>36.31</c:v>
                </c:pt>
                <c:pt idx="554" formatCode="#,##0.00">
                  <c:v>37.119999999999997</c:v>
                </c:pt>
                <c:pt idx="555" formatCode="#,##0.00">
                  <c:v>37</c:v>
                </c:pt>
                <c:pt idx="556" formatCode="#,##0.00">
                  <c:v>38.340000000000003</c:v>
                </c:pt>
                <c:pt idx="557" formatCode="#,##0.00">
                  <c:v>35.5</c:v>
                </c:pt>
                <c:pt idx="558" formatCode="#,##0.00">
                  <c:v>33.549999999999997</c:v>
                </c:pt>
                <c:pt idx="559" formatCode="#,##0.00">
                  <c:v>36.659999999999997</c:v>
                </c:pt>
                <c:pt idx="560" formatCode="#,##0.00">
                  <c:v>34.75</c:v>
                </c:pt>
                <c:pt idx="563" formatCode="#,##0.00">
                  <c:v>36.9</c:v>
                </c:pt>
                <c:pt idx="564" formatCode="#,##0.00">
                  <c:v>37.44</c:v>
                </c:pt>
                <c:pt idx="565" formatCode="#,##0.00">
                  <c:v>36.44</c:v>
                </c:pt>
                <c:pt idx="566" formatCode="#,##0.00">
                  <c:v>36.700000000000003</c:v>
                </c:pt>
                <c:pt idx="567" formatCode="#,##0.00">
                  <c:v>37.43</c:v>
                </c:pt>
                <c:pt idx="568" formatCode="#,##0.00">
                  <c:v>37.5</c:v>
                </c:pt>
                <c:pt idx="569" formatCode="#,##0.00">
                  <c:v>37.26</c:v>
                </c:pt>
                <c:pt idx="570" formatCode="#,##0.00">
                  <c:v>38.229999999999997</c:v>
                </c:pt>
                <c:pt idx="571" formatCode="#,##0.00">
                  <c:v>37.630000000000003</c:v>
                </c:pt>
                <c:pt idx="572" formatCode="#,##0.00">
                  <c:v>35.869999999999997</c:v>
                </c:pt>
                <c:pt idx="573" formatCode="#,##0.00">
                  <c:v>37.36</c:v>
                </c:pt>
                <c:pt idx="574" formatCode="#,##0.00">
                  <c:v>37.42</c:v>
                </c:pt>
                <c:pt idx="575" formatCode="#,##0.00">
                  <c:v>38.49</c:v>
                </c:pt>
                <c:pt idx="576" formatCode="#,##0.00">
                  <c:v>40.299999999999997</c:v>
                </c:pt>
                <c:pt idx="577" formatCode="#,##0.00">
                  <c:v>37.29</c:v>
                </c:pt>
                <c:pt idx="578" formatCode="#,##0.00">
                  <c:v>39.47</c:v>
                </c:pt>
                <c:pt idx="579" formatCode="#,##0.00">
                  <c:v>41.54</c:v>
                </c:pt>
                <c:pt idx="580" formatCode="#,##0.00">
                  <c:v>40.49</c:v>
                </c:pt>
                <c:pt idx="581" formatCode="#,##0.00">
                  <c:v>39.909999999999997</c:v>
                </c:pt>
                <c:pt idx="582" formatCode="#,##0.00">
                  <c:v>37.47</c:v>
                </c:pt>
                <c:pt idx="583" formatCode="General">
                  <c:v>39.909999999999997</c:v>
                </c:pt>
                <c:pt idx="584" formatCode="General">
                  <c:v>37.299999999999997</c:v>
                </c:pt>
                <c:pt idx="585" formatCode="General">
                  <c:v>38.799999999999997</c:v>
                </c:pt>
                <c:pt idx="586" formatCode="General">
                  <c:v>38.450000000000003</c:v>
                </c:pt>
                <c:pt idx="587" formatCode="General">
                  <c:v>39.54</c:v>
                </c:pt>
                <c:pt idx="588" formatCode="General">
                  <c:v>40.15</c:v>
                </c:pt>
                <c:pt idx="589" formatCode="General">
                  <c:v>41.35</c:v>
                </c:pt>
                <c:pt idx="590" formatCode="General">
                  <c:v>39.590000000000003</c:v>
                </c:pt>
                <c:pt idx="591" formatCode="General">
                  <c:v>38.799999999999997</c:v>
                </c:pt>
                <c:pt idx="592" formatCode="General">
                  <c:v>39.049999999999997</c:v>
                </c:pt>
                <c:pt idx="593" formatCode="General">
                  <c:v>36.71</c:v>
                </c:pt>
                <c:pt idx="594" formatCode="General">
                  <c:v>36.19</c:v>
                </c:pt>
                <c:pt idx="595" formatCode="General">
                  <c:v>33.43</c:v>
                </c:pt>
                <c:pt idx="596" formatCode="General">
                  <c:v>35.74</c:v>
                </c:pt>
                <c:pt idx="597" formatCode="General">
                  <c:v>34.299999999999997</c:v>
                </c:pt>
                <c:pt idx="598" formatCode="General">
                  <c:v>34.950000000000003</c:v>
                </c:pt>
                <c:pt idx="599" formatCode="General">
                  <c:v>34.83</c:v>
                </c:pt>
                <c:pt idx="600" formatCode="General">
                  <c:v>36.17</c:v>
                </c:pt>
                <c:pt idx="601" formatCode="General">
                  <c:v>37.82</c:v>
                </c:pt>
                <c:pt idx="602" formatCode="General">
                  <c:v>36.619999999999997</c:v>
                </c:pt>
                <c:pt idx="603" formatCode="General">
                  <c:v>35.85</c:v>
                </c:pt>
                <c:pt idx="604" formatCode="General">
                  <c:v>36.96</c:v>
                </c:pt>
                <c:pt idx="605" formatCode="General">
                  <c:v>36.49</c:v>
                </c:pt>
                <c:pt idx="606" formatCode="General">
                  <c:v>36.159999999999997</c:v>
                </c:pt>
                <c:pt idx="607" formatCode="General">
                  <c:v>36.24</c:v>
                </c:pt>
                <c:pt idx="608" formatCode="General">
                  <c:v>37.130000000000003</c:v>
                </c:pt>
                <c:pt idx="609" formatCode="General">
                  <c:v>40.049999999999997</c:v>
                </c:pt>
                <c:pt idx="610" formatCode="General">
                  <c:v>36.42</c:v>
                </c:pt>
                <c:pt idx="611" formatCode="General">
                  <c:v>34.520000000000003</c:v>
                </c:pt>
                <c:pt idx="612" formatCode="General">
                  <c:v>39.08</c:v>
                </c:pt>
                <c:pt idx="613" formatCode="General">
                  <c:v>37.880000000000003</c:v>
                </c:pt>
                <c:pt idx="614" formatCode="General">
                  <c:v>34.69</c:v>
                </c:pt>
                <c:pt idx="615" formatCode="General">
                  <c:v>37.450000000000003</c:v>
                </c:pt>
                <c:pt idx="620" formatCode="General">
                  <c:v>38.35</c:v>
                </c:pt>
                <c:pt idx="621" formatCode="General">
                  <c:v>38.43</c:v>
                </c:pt>
                <c:pt idx="622" formatCode="General">
                  <c:v>37.67</c:v>
                </c:pt>
                <c:pt idx="623" formatCode="General">
                  <c:v>38.93</c:v>
                </c:pt>
                <c:pt idx="624" formatCode="General">
                  <c:v>38.799999999999997</c:v>
                </c:pt>
                <c:pt idx="625" formatCode="General">
                  <c:v>38.79</c:v>
                </c:pt>
                <c:pt idx="626" formatCode="General">
                  <c:v>38.54</c:v>
                </c:pt>
                <c:pt idx="627" formatCode="General">
                  <c:v>37.090000000000003</c:v>
                </c:pt>
                <c:pt idx="628" formatCode="General">
                  <c:v>36.130000000000003</c:v>
                </c:pt>
                <c:pt idx="629" formatCode="General">
                  <c:v>36.08</c:v>
                </c:pt>
                <c:pt idx="630" formatCode="General">
                  <c:v>36.950000000000003</c:v>
                </c:pt>
                <c:pt idx="631" formatCode="General">
                  <c:v>35.57</c:v>
                </c:pt>
                <c:pt idx="632" formatCode="General">
                  <c:v>38.03</c:v>
                </c:pt>
                <c:pt idx="633" formatCode="General">
                  <c:v>35.71</c:v>
                </c:pt>
                <c:pt idx="634" formatCode="General">
                  <c:v>32.99</c:v>
                </c:pt>
                <c:pt idx="635" formatCode="General">
                  <c:v>37.549999999999997</c:v>
                </c:pt>
                <c:pt idx="636" formatCode="General">
                  <c:v>36.229999999999997</c:v>
                </c:pt>
                <c:pt idx="637" formatCode="General">
                  <c:v>35.659999999999997</c:v>
                </c:pt>
                <c:pt idx="638" formatCode="General">
                  <c:v>35.35</c:v>
                </c:pt>
                <c:pt idx="639" formatCode="General">
                  <c:v>33.869999999999997</c:v>
                </c:pt>
                <c:pt idx="640" formatCode="General">
                  <c:v>31.73</c:v>
                </c:pt>
                <c:pt idx="641" formatCode="General">
                  <c:v>34.96</c:v>
                </c:pt>
                <c:pt idx="642" formatCode="General">
                  <c:v>32.67</c:v>
                </c:pt>
                <c:pt idx="643" formatCode="General">
                  <c:v>34.65</c:v>
                </c:pt>
                <c:pt idx="644" formatCode="General">
                  <c:v>33.89</c:v>
                </c:pt>
                <c:pt idx="645" formatCode="General">
                  <c:v>33.53</c:v>
                </c:pt>
                <c:pt idx="646" formatCode="General">
                  <c:v>32.53</c:v>
                </c:pt>
                <c:pt idx="647" formatCode="General">
                  <c:v>33.25</c:v>
                </c:pt>
                <c:pt idx="648" formatCode="General">
                  <c:v>31.25</c:v>
                </c:pt>
                <c:pt idx="649" formatCode="General">
                  <c:v>32.659999999999997</c:v>
                </c:pt>
                <c:pt idx="650" formatCode="General">
                  <c:v>30.52</c:v>
                </c:pt>
                <c:pt idx="651" formatCode="General">
                  <c:v>28.48</c:v>
                </c:pt>
                <c:pt idx="652" formatCode="General">
                  <c:v>29</c:v>
                </c:pt>
                <c:pt idx="653" formatCode="General">
                  <c:v>29.34</c:v>
                </c:pt>
                <c:pt idx="654" formatCode="General">
                  <c:v>29.78</c:v>
                </c:pt>
                <c:pt idx="655" formatCode="General">
                  <c:v>30.19</c:v>
                </c:pt>
                <c:pt idx="656" formatCode="General">
                  <c:v>28.91</c:v>
                </c:pt>
                <c:pt idx="657" formatCode="General">
                  <c:v>29.22</c:v>
                </c:pt>
                <c:pt idx="658" formatCode="General">
                  <c:v>30.79</c:v>
                </c:pt>
                <c:pt idx="659" formatCode="General">
                  <c:v>32.15</c:v>
                </c:pt>
                <c:pt idx="660" formatCode="General">
                  <c:v>31.22</c:v>
                </c:pt>
                <c:pt idx="661" formatCode="General">
                  <c:v>30.42</c:v>
                </c:pt>
                <c:pt idx="662" formatCode="General">
                  <c:v>34.549999999999997</c:v>
                </c:pt>
                <c:pt idx="663" formatCode="General">
                  <c:v>34.92</c:v>
                </c:pt>
                <c:pt idx="664" formatCode="General">
                  <c:v>34.43</c:v>
                </c:pt>
                <c:pt idx="665" formatCode="General">
                  <c:v>32.33</c:v>
                </c:pt>
                <c:pt idx="666" formatCode="General">
                  <c:v>33.33</c:v>
                </c:pt>
                <c:pt idx="667" formatCode="General">
                  <c:v>33.619999999999997</c:v>
                </c:pt>
                <c:pt idx="668" formatCode="General">
                  <c:v>33.68</c:v>
                </c:pt>
                <c:pt idx="669" formatCode="General">
                  <c:v>32.57</c:v>
                </c:pt>
                <c:pt idx="670" formatCode="General">
                  <c:v>33.950000000000003</c:v>
                </c:pt>
                <c:pt idx="671" formatCode="General">
                  <c:v>33.950000000000003</c:v>
                </c:pt>
                <c:pt idx="672" formatCode="General">
                  <c:v>32.6</c:v>
                </c:pt>
                <c:pt idx="673" formatCode="General">
                  <c:v>31.26</c:v>
                </c:pt>
                <c:pt idx="674" formatCode="General">
                  <c:v>33.21</c:v>
                </c:pt>
                <c:pt idx="675" formatCode="General">
                  <c:v>31.8</c:v>
                </c:pt>
                <c:pt idx="676" formatCode="General">
                  <c:v>32.69</c:v>
                </c:pt>
                <c:pt idx="677" formatCode="General">
                  <c:v>32.630000000000003</c:v>
                </c:pt>
                <c:pt idx="678" formatCode="General">
                  <c:v>33.32</c:v>
                </c:pt>
                <c:pt idx="679" formatCode="General">
                  <c:v>33.03</c:v>
                </c:pt>
                <c:pt idx="680" formatCode="General">
                  <c:v>34.159999999999997</c:v>
                </c:pt>
                <c:pt idx="681" formatCode="General">
                  <c:v>34.630000000000003</c:v>
                </c:pt>
                <c:pt idx="682" formatCode="General">
                  <c:v>33.24</c:v>
                </c:pt>
                <c:pt idx="683" formatCode="General">
                  <c:v>33.35</c:v>
                </c:pt>
                <c:pt idx="684" formatCode="General">
                  <c:v>34.369999999999997</c:v>
                </c:pt>
                <c:pt idx="685" formatCode="General">
                  <c:v>33.9</c:v>
                </c:pt>
                <c:pt idx="686" formatCode="General">
                  <c:v>34.869999999999997</c:v>
                </c:pt>
                <c:pt idx="687" formatCode="General">
                  <c:v>34.520000000000003</c:v>
                </c:pt>
                <c:pt idx="688" formatCode="General">
                  <c:v>35.08</c:v>
                </c:pt>
                <c:pt idx="689" formatCode="General">
                  <c:v>34.69</c:v>
                </c:pt>
                <c:pt idx="690" formatCode="General">
                  <c:v>34.43</c:v>
                </c:pt>
                <c:pt idx="691" formatCode="General">
                  <c:v>34.299999999999997</c:v>
                </c:pt>
                <c:pt idx="692" formatCode="General">
                  <c:v>33.67</c:v>
                </c:pt>
                <c:pt idx="693" formatCode="General">
                  <c:v>32.61</c:v>
                </c:pt>
                <c:pt idx="694" formatCode="General">
                  <c:v>30.91</c:v>
                </c:pt>
                <c:pt idx="695" formatCode="General">
                  <c:v>28.39</c:v>
                </c:pt>
                <c:pt idx="696" formatCode="General">
                  <c:v>27.89</c:v>
                </c:pt>
                <c:pt idx="697" formatCode="General">
                  <c:v>27.31</c:v>
                </c:pt>
                <c:pt idx="698" formatCode="General">
                  <c:v>29.43</c:v>
                </c:pt>
                <c:pt idx="699" formatCode="General">
                  <c:v>30.05</c:v>
                </c:pt>
                <c:pt idx="700" formatCode="General">
                  <c:v>31.24</c:v>
                </c:pt>
                <c:pt idx="701" formatCode="General">
                  <c:v>29.03</c:v>
                </c:pt>
                <c:pt idx="702" formatCode="General">
                  <c:v>31.41</c:v>
                </c:pt>
                <c:pt idx="703" formatCode="General">
                  <c:v>31.76</c:v>
                </c:pt>
                <c:pt idx="704" formatCode="General">
                  <c:v>32.590000000000003</c:v>
                </c:pt>
                <c:pt idx="705" formatCode="General">
                  <c:v>31.62</c:v>
                </c:pt>
                <c:pt idx="706" formatCode="General">
                  <c:v>31.12</c:v>
                </c:pt>
                <c:pt idx="707" formatCode="General">
                  <c:v>32.909999999999997</c:v>
                </c:pt>
                <c:pt idx="708" formatCode="General">
                  <c:v>31.56</c:v>
                </c:pt>
                <c:pt idx="709" formatCode="General">
                  <c:v>31.33</c:v>
                </c:pt>
                <c:pt idx="710" formatCode="General">
                  <c:v>30.71</c:v>
                </c:pt>
                <c:pt idx="711" formatCode="General">
                  <c:v>29.84</c:v>
                </c:pt>
                <c:pt idx="712" formatCode="General">
                  <c:v>35.24</c:v>
                </c:pt>
                <c:pt idx="713" formatCode="General">
                  <c:v>32.19</c:v>
                </c:pt>
                <c:pt idx="714" formatCode="General">
                  <c:v>30.4</c:v>
                </c:pt>
                <c:pt idx="715" formatCode="General">
                  <c:v>31.46</c:v>
                </c:pt>
                <c:pt idx="716" formatCode="General">
                  <c:v>30.41</c:v>
                </c:pt>
                <c:pt idx="717" formatCode="General">
                  <c:v>32.83</c:v>
                </c:pt>
                <c:pt idx="718" formatCode="General">
                  <c:v>33.49</c:v>
                </c:pt>
                <c:pt idx="719" formatCode="General">
                  <c:v>31.45</c:v>
                </c:pt>
                <c:pt idx="720" formatCode="General">
                  <c:v>31.51</c:v>
                </c:pt>
                <c:pt idx="721" formatCode="General">
                  <c:v>31.09</c:v>
                </c:pt>
                <c:pt idx="722" formatCode="General">
                  <c:v>31.65</c:v>
                </c:pt>
                <c:pt idx="723" formatCode="General">
                  <c:v>31.34</c:v>
                </c:pt>
                <c:pt idx="724" formatCode="General">
                  <c:v>31.64</c:v>
                </c:pt>
                <c:pt idx="725" formatCode="General">
                  <c:v>32.130000000000003</c:v>
                </c:pt>
                <c:pt idx="726" formatCode="General">
                  <c:v>32.42</c:v>
                </c:pt>
                <c:pt idx="727" formatCode="General">
                  <c:v>32.11</c:v>
                </c:pt>
                <c:pt idx="728" formatCode="General">
                  <c:v>33.130000000000003</c:v>
                </c:pt>
                <c:pt idx="729" formatCode="General">
                  <c:v>34.15</c:v>
                </c:pt>
                <c:pt idx="730" formatCode="General">
                  <c:v>31.97</c:v>
                </c:pt>
                <c:pt idx="731" formatCode="General">
                  <c:v>31.26</c:v>
                </c:pt>
                <c:pt idx="732" formatCode="General">
                  <c:v>33.49</c:v>
                </c:pt>
                <c:pt idx="733" formatCode="General">
                  <c:v>33.21</c:v>
                </c:pt>
                <c:pt idx="734" formatCode="General">
                  <c:v>32.369999999999997</c:v>
                </c:pt>
                <c:pt idx="735" formatCode="General">
                  <c:v>35.6</c:v>
                </c:pt>
                <c:pt idx="736" formatCode="General">
                  <c:v>35.44</c:v>
                </c:pt>
                <c:pt idx="737" formatCode="General">
                  <c:v>35.619999999999997</c:v>
                </c:pt>
                <c:pt idx="738" formatCode="General">
                  <c:v>33.79</c:v>
                </c:pt>
                <c:pt idx="739" formatCode="General">
                  <c:v>32.64</c:v>
                </c:pt>
                <c:pt idx="740" formatCode="General">
                  <c:v>31.56</c:v>
                </c:pt>
                <c:pt idx="741" formatCode="General">
                  <c:v>33.47</c:v>
                </c:pt>
                <c:pt idx="742" formatCode="General">
                  <c:v>30.05</c:v>
                </c:pt>
                <c:pt idx="743" formatCode="General">
                  <c:v>32.47</c:v>
                </c:pt>
                <c:pt idx="744" formatCode="General">
                  <c:v>31.72</c:v>
                </c:pt>
                <c:pt idx="745" formatCode="General">
                  <c:v>32.409999999999997</c:v>
                </c:pt>
                <c:pt idx="746" formatCode="General">
                  <c:v>33.299999999999997</c:v>
                </c:pt>
                <c:pt idx="747" formatCode="General">
                  <c:v>34.19</c:v>
                </c:pt>
                <c:pt idx="748" formatCode="General">
                  <c:v>33.54</c:v>
                </c:pt>
                <c:pt idx="749" formatCode="General">
                  <c:v>33.79</c:v>
                </c:pt>
                <c:pt idx="750" formatCode="General">
                  <c:v>35.04</c:v>
                </c:pt>
                <c:pt idx="751" formatCode="General">
                  <c:v>34.92</c:v>
                </c:pt>
                <c:pt idx="752" formatCode="General">
                  <c:v>34.409999999999997</c:v>
                </c:pt>
                <c:pt idx="753" formatCode="General">
                  <c:v>37.18</c:v>
                </c:pt>
                <c:pt idx="754" formatCode="General">
                  <c:v>35.03</c:v>
                </c:pt>
                <c:pt idx="755" formatCode="General">
                  <c:v>36.06</c:v>
                </c:pt>
                <c:pt idx="756" formatCode="General">
                  <c:v>35.54</c:v>
                </c:pt>
                <c:pt idx="757" formatCode="General">
                  <c:v>34.409999999999997</c:v>
                </c:pt>
                <c:pt idx="758" formatCode="General">
                  <c:v>36.96</c:v>
                </c:pt>
                <c:pt idx="759" formatCode="General">
                  <c:v>36.32</c:v>
                </c:pt>
                <c:pt idx="760" formatCode="General">
                  <c:v>38.61</c:v>
                </c:pt>
                <c:pt idx="761" formatCode="General">
                  <c:v>34.65</c:v>
                </c:pt>
                <c:pt idx="762" formatCode="General">
                  <c:v>35.75</c:v>
                </c:pt>
                <c:pt idx="763" formatCode="General">
                  <c:v>36.18</c:v>
                </c:pt>
                <c:pt idx="764" formatCode="General">
                  <c:v>35.67</c:v>
                </c:pt>
                <c:pt idx="765" formatCode="General">
                  <c:v>37.79</c:v>
                </c:pt>
                <c:pt idx="766" formatCode="General">
                  <c:v>36.1</c:v>
                </c:pt>
                <c:pt idx="767" formatCode="General">
                  <c:v>38.159999999999997</c:v>
                </c:pt>
                <c:pt idx="768" formatCode="General">
                  <c:v>37.840000000000003</c:v>
                </c:pt>
                <c:pt idx="769" formatCode="General">
                  <c:v>38.89</c:v>
                </c:pt>
                <c:pt idx="770" formatCode="General">
                  <c:v>37.65</c:v>
                </c:pt>
                <c:pt idx="771" formatCode="General">
                  <c:v>38.65</c:v>
                </c:pt>
                <c:pt idx="772" formatCode="General">
                  <c:v>37.29</c:v>
                </c:pt>
                <c:pt idx="773" formatCode="General">
                  <c:v>39.17</c:v>
                </c:pt>
                <c:pt idx="774" formatCode="General">
                  <c:v>41.49</c:v>
                </c:pt>
                <c:pt idx="775" formatCode="General">
                  <c:v>41.73</c:v>
                </c:pt>
                <c:pt idx="776" formatCode="General">
                  <c:v>41.38</c:v>
                </c:pt>
                <c:pt idx="777" formatCode="General">
                  <c:v>43.46</c:v>
                </c:pt>
                <c:pt idx="778" formatCode="General">
                  <c:v>42.81</c:v>
                </c:pt>
                <c:pt idx="779" formatCode="General">
                  <c:v>43.63</c:v>
                </c:pt>
                <c:pt idx="780" formatCode="General">
                  <c:v>43.65</c:v>
                </c:pt>
                <c:pt idx="781" formatCode="General">
                  <c:v>38.119999999999997</c:v>
                </c:pt>
                <c:pt idx="782" formatCode="General">
                  <c:v>39.29</c:v>
                </c:pt>
                <c:pt idx="783" formatCode="General">
                  <c:v>36.39</c:v>
                </c:pt>
                <c:pt idx="784" formatCode="General">
                  <c:v>39.200000000000003</c:v>
                </c:pt>
                <c:pt idx="785" formatCode="General">
                  <c:v>38.89</c:v>
                </c:pt>
                <c:pt idx="786" formatCode="General">
                  <c:v>39.46</c:v>
                </c:pt>
                <c:pt idx="787" formatCode="General">
                  <c:v>37.42</c:v>
                </c:pt>
                <c:pt idx="788" formatCode="General">
                  <c:v>37.549999999999997</c:v>
                </c:pt>
                <c:pt idx="789" formatCode="General">
                  <c:v>37.67</c:v>
                </c:pt>
                <c:pt idx="790" formatCode="General">
                  <c:v>37.81</c:v>
                </c:pt>
                <c:pt idx="791" formatCode="General">
                  <c:v>40.39</c:v>
                </c:pt>
                <c:pt idx="792" formatCode="General">
                  <c:v>41.17</c:v>
                </c:pt>
                <c:pt idx="793" formatCode="General">
                  <c:v>40.78</c:v>
                </c:pt>
                <c:pt idx="794" formatCode="General">
                  <c:v>38.979999999999997</c:v>
                </c:pt>
                <c:pt idx="795" formatCode="General">
                  <c:v>41.9</c:v>
                </c:pt>
                <c:pt idx="796" formatCode="General">
                  <c:v>42.81</c:v>
                </c:pt>
                <c:pt idx="797" formatCode="General">
                  <c:v>40.130000000000003</c:v>
                </c:pt>
                <c:pt idx="798" formatCode="General">
                  <c:v>40.68</c:v>
                </c:pt>
                <c:pt idx="799" formatCode="General">
                  <c:v>41.04</c:v>
                </c:pt>
                <c:pt idx="800" formatCode="General">
                  <c:v>40.74</c:v>
                </c:pt>
                <c:pt idx="801" formatCode="General">
                  <c:v>43.97</c:v>
                </c:pt>
              </c:numCache>
            </c:numRef>
          </c:val>
          <c:smooth val="0"/>
          <c:extLst>
            <c:ext xmlns:c16="http://schemas.microsoft.com/office/drawing/2014/chart" uri="{C3380CC4-5D6E-409C-BE32-E72D297353CC}">
              <c16:uniqueId val="{00000000-FC6C-4644-978F-2BD10A55594E}"/>
            </c:ext>
          </c:extLst>
        </c:ser>
        <c:dLbls>
          <c:showLegendKey val="0"/>
          <c:showVal val="0"/>
          <c:showCatName val="0"/>
          <c:showSerName val="0"/>
          <c:showPercent val="0"/>
          <c:showBubbleSize val="0"/>
        </c:dLbls>
        <c:smooth val="0"/>
        <c:axId val="1221610623"/>
        <c:axId val="1"/>
      </c:lineChart>
      <c:catAx>
        <c:axId val="1221610623"/>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1610623"/>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Oxen</a:t>
            </a:r>
          </a:p>
        </c:rich>
      </c:tx>
      <c:overlay val="0"/>
    </c:title>
    <c:autoTitleDeleted val="0"/>
    <c:plotArea>
      <c:layout/>
      <c:lineChart>
        <c:grouping val="standard"/>
        <c:varyColors val="0"/>
        <c:ser>
          <c:idx val="6"/>
          <c:order val="0"/>
          <c:tx>
            <c:strRef>
              <c:f>Summary!$F$3</c:f>
              <c:strCache>
                <c:ptCount val="1"/>
                <c:pt idx="0">
                  <c:v>Oxen</c:v>
                </c:pt>
              </c:strCache>
            </c:strRef>
          </c:tx>
          <c:spPr>
            <a:ln w="12700">
              <a:solidFill>
                <a:schemeClr val="tx1"/>
              </a:solidFill>
            </a:ln>
          </c:spPr>
          <c:marker>
            <c:symbol val="none"/>
          </c:marker>
          <c:cat>
            <c:numRef>
              <c:f>Summary!$B$4:$B$808</c:f>
              <c:numCache>
                <c:formatCode>General</c:formatCode>
                <c:ptCount val="805"/>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F$4:$F$810</c:f>
              <c:numCache>
                <c:formatCode>0.00</c:formatCode>
                <c:ptCount val="807"/>
                <c:pt idx="0">
                  <c:v>13.04</c:v>
                </c:pt>
                <c:pt idx="1">
                  <c:v>14.8</c:v>
                </c:pt>
                <c:pt idx="2">
                  <c:v>12.72</c:v>
                </c:pt>
                <c:pt idx="3">
                  <c:v>12.63</c:v>
                </c:pt>
                <c:pt idx="4">
                  <c:v>13.85</c:v>
                </c:pt>
                <c:pt idx="5">
                  <c:v>13.13</c:v>
                </c:pt>
                <c:pt idx="6">
                  <c:v>12.99</c:v>
                </c:pt>
                <c:pt idx="7">
                  <c:v>12.33</c:v>
                </c:pt>
                <c:pt idx="8">
                  <c:v>13.01</c:v>
                </c:pt>
                <c:pt idx="9">
                  <c:v>12.43</c:v>
                </c:pt>
                <c:pt idx="10">
                  <c:v>12.17</c:v>
                </c:pt>
                <c:pt idx="11">
                  <c:v>11.15</c:v>
                </c:pt>
                <c:pt idx="12">
                  <c:v>14.05</c:v>
                </c:pt>
                <c:pt idx="13">
                  <c:v>13.22</c:v>
                </c:pt>
                <c:pt idx="14">
                  <c:v>12.46</c:v>
                </c:pt>
                <c:pt idx="15">
                  <c:v>12.86</c:v>
                </c:pt>
                <c:pt idx="16">
                  <c:v>12.31</c:v>
                </c:pt>
                <c:pt idx="17">
                  <c:v>12.33</c:v>
                </c:pt>
                <c:pt idx="18">
                  <c:v>13.3</c:v>
                </c:pt>
                <c:pt idx="19">
                  <c:v>11.99</c:v>
                </c:pt>
                <c:pt idx="20">
                  <c:v>12.07</c:v>
                </c:pt>
                <c:pt idx="21">
                  <c:v>12.88</c:v>
                </c:pt>
                <c:pt idx="22">
                  <c:v>13.18</c:v>
                </c:pt>
                <c:pt idx="23">
                  <c:v>12.38</c:v>
                </c:pt>
                <c:pt idx="24">
                  <c:v>12.81</c:v>
                </c:pt>
                <c:pt idx="25">
                  <c:v>12.75</c:v>
                </c:pt>
                <c:pt idx="26">
                  <c:v>12.13</c:v>
                </c:pt>
                <c:pt idx="27">
                  <c:v>12.18</c:v>
                </c:pt>
                <c:pt idx="28">
                  <c:v>12.48</c:v>
                </c:pt>
                <c:pt idx="29">
                  <c:v>11.91</c:v>
                </c:pt>
                <c:pt idx="30">
                  <c:v>9.73</c:v>
                </c:pt>
                <c:pt idx="31">
                  <c:v>13</c:v>
                </c:pt>
                <c:pt idx="32">
                  <c:v>13.68</c:v>
                </c:pt>
                <c:pt idx="33">
                  <c:v>11.86</c:v>
                </c:pt>
                <c:pt idx="34">
                  <c:v>12.19</c:v>
                </c:pt>
                <c:pt idx="35">
                  <c:v>13.28</c:v>
                </c:pt>
                <c:pt idx="36">
                  <c:v>13.87</c:v>
                </c:pt>
                <c:pt idx="37">
                  <c:v>12.95</c:v>
                </c:pt>
                <c:pt idx="38">
                  <c:v>12.91</c:v>
                </c:pt>
                <c:pt idx="39">
                  <c:v>12.71</c:v>
                </c:pt>
                <c:pt idx="40">
                  <c:v>13.33</c:v>
                </c:pt>
                <c:pt idx="41">
                  <c:v>13.79</c:v>
                </c:pt>
                <c:pt idx="42">
                  <c:v>13.47</c:v>
                </c:pt>
                <c:pt idx="43">
                  <c:v>13.45</c:v>
                </c:pt>
                <c:pt idx="44">
                  <c:v>14.02</c:v>
                </c:pt>
                <c:pt idx="45">
                  <c:v>13.66</c:v>
                </c:pt>
                <c:pt idx="46">
                  <c:v>14.11</c:v>
                </c:pt>
                <c:pt idx="47">
                  <c:v>13.57</c:v>
                </c:pt>
                <c:pt idx="48">
                  <c:v>14.72</c:v>
                </c:pt>
                <c:pt idx="49">
                  <c:v>14.8</c:v>
                </c:pt>
                <c:pt idx="50">
                  <c:v>14.94</c:v>
                </c:pt>
                <c:pt idx="51">
                  <c:v>14.21</c:v>
                </c:pt>
                <c:pt idx="52">
                  <c:v>13.2</c:v>
                </c:pt>
                <c:pt idx="53">
                  <c:v>12.89</c:v>
                </c:pt>
                <c:pt idx="54">
                  <c:v>12.91</c:v>
                </c:pt>
                <c:pt idx="55">
                  <c:v>13.02</c:v>
                </c:pt>
                <c:pt idx="56">
                  <c:v>12.43</c:v>
                </c:pt>
                <c:pt idx="57">
                  <c:v>13.76</c:v>
                </c:pt>
                <c:pt idx="58">
                  <c:v>13.32</c:v>
                </c:pt>
                <c:pt idx="59">
                  <c:v>13.94</c:v>
                </c:pt>
                <c:pt idx="60">
                  <c:v>14.01</c:v>
                </c:pt>
                <c:pt idx="61">
                  <c:v>12.67</c:v>
                </c:pt>
                <c:pt idx="62">
                  <c:v>13.13</c:v>
                </c:pt>
                <c:pt idx="63">
                  <c:v>12.9</c:v>
                </c:pt>
                <c:pt idx="64">
                  <c:v>14.9</c:v>
                </c:pt>
                <c:pt idx="65">
                  <c:v>13.14</c:v>
                </c:pt>
                <c:pt idx="66">
                  <c:v>11.43</c:v>
                </c:pt>
                <c:pt idx="67">
                  <c:v>11.29</c:v>
                </c:pt>
                <c:pt idx="68">
                  <c:v>13.4</c:v>
                </c:pt>
                <c:pt idx="69">
                  <c:v>13.57</c:v>
                </c:pt>
                <c:pt idx="70">
                  <c:v>13.93</c:v>
                </c:pt>
                <c:pt idx="71">
                  <c:v>14.67</c:v>
                </c:pt>
                <c:pt idx="72">
                  <c:v>14.48</c:v>
                </c:pt>
                <c:pt idx="73">
                  <c:v>14.24</c:v>
                </c:pt>
                <c:pt idx="74">
                  <c:v>15.65</c:v>
                </c:pt>
                <c:pt idx="75">
                  <c:v>14.88</c:v>
                </c:pt>
                <c:pt idx="76">
                  <c:v>14.88</c:v>
                </c:pt>
                <c:pt idx="77">
                  <c:v>14.85</c:v>
                </c:pt>
                <c:pt idx="78">
                  <c:v>15.07</c:v>
                </c:pt>
                <c:pt idx="79">
                  <c:v>14.46</c:v>
                </c:pt>
                <c:pt idx="80">
                  <c:v>17.12</c:v>
                </c:pt>
                <c:pt idx="81">
                  <c:v>14.82</c:v>
                </c:pt>
                <c:pt idx="82">
                  <c:v>16.13</c:v>
                </c:pt>
                <c:pt idx="83">
                  <c:v>16.850000000000001</c:v>
                </c:pt>
                <c:pt idx="84">
                  <c:v>15.19</c:v>
                </c:pt>
                <c:pt idx="85">
                  <c:v>13.79</c:v>
                </c:pt>
                <c:pt idx="86">
                  <c:v>17.64</c:v>
                </c:pt>
                <c:pt idx="87">
                  <c:v>16.72</c:v>
                </c:pt>
                <c:pt idx="88">
                  <c:v>19.18</c:v>
                </c:pt>
                <c:pt idx="89">
                  <c:v>18.350000000000001</c:v>
                </c:pt>
                <c:pt idx="90">
                  <c:v>18.8</c:v>
                </c:pt>
                <c:pt idx="91">
                  <c:v>17.91</c:v>
                </c:pt>
                <c:pt idx="92">
                  <c:v>17.57</c:v>
                </c:pt>
                <c:pt idx="93">
                  <c:v>15.97</c:v>
                </c:pt>
                <c:pt idx="94">
                  <c:v>17.96</c:v>
                </c:pt>
                <c:pt idx="95">
                  <c:v>15.1</c:v>
                </c:pt>
                <c:pt idx="96">
                  <c:v>18.57</c:v>
                </c:pt>
                <c:pt idx="97">
                  <c:v>14.91</c:v>
                </c:pt>
                <c:pt idx="98">
                  <c:v>15.01</c:v>
                </c:pt>
                <c:pt idx="99">
                  <c:v>15.15</c:v>
                </c:pt>
                <c:pt idx="100">
                  <c:v>14.26</c:v>
                </c:pt>
                <c:pt idx="101">
                  <c:v>12.92</c:v>
                </c:pt>
                <c:pt idx="102">
                  <c:v>11.74</c:v>
                </c:pt>
                <c:pt idx="103">
                  <c:v>13.85</c:v>
                </c:pt>
                <c:pt idx="104">
                  <c:v>13.1</c:v>
                </c:pt>
                <c:pt idx="105" formatCode="General">
                  <c:v>11.62</c:v>
                </c:pt>
                <c:pt idx="106" formatCode="General">
                  <c:v>13.05</c:v>
                </c:pt>
                <c:pt idx="107" formatCode="General">
                  <c:v>13.71</c:v>
                </c:pt>
                <c:pt idx="108" formatCode="General">
                  <c:v>14.39</c:v>
                </c:pt>
                <c:pt idx="109" formatCode="General">
                  <c:v>13.49</c:v>
                </c:pt>
                <c:pt idx="110" formatCode="General">
                  <c:v>13.81</c:v>
                </c:pt>
                <c:pt idx="111" formatCode="General">
                  <c:v>14.08</c:v>
                </c:pt>
                <c:pt idx="112" formatCode="General">
                  <c:v>13.22</c:v>
                </c:pt>
                <c:pt idx="113" formatCode="General">
                  <c:v>12.12</c:v>
                </c:pt>
                <c:pt idx="114" formatCode="General">
                  <c:v>13.53</c:v>
                </c:pt>
                <c:pt idx="115" formatCode="General">
                  <c:v>13.28</c:v>
                </c:pt>
                <c:pt idx="116" formatCode="General">
                  <c:v>13.55</c:v>
                </c:pt>
                <c:pt idx="117" formatCode="General">
                  <c:v>13.94</c:v>
                </c:pt>
                <c:pt idx="118" formatCode="General">
                  <c:v>12.34</c:v>
                </c:pt>
                <c:pt idx="119" formatCode="General">
                  <c:v>13.4</c:v>
                </c:pt>
                <c:pt idx="120" formatCode="General">
                  <c:v>12.28</c:v>
                </c:pt>
                <c:pt idx="121" formatCode="General">
                  <c:v>13.71</c:v>
                </c:pt>
                <c:pt idx="122" formatCode="General">
                  <c:v>14.04</c:v>
                </c:pt>
                <c:pt idx="123" formatCode="General">
                  <c:v>12.72</c:v>
                </c:pt>
                <c:pt idx="124" formatCode="General">
                  <c:v>14.82</c:v>
                </c:pt>
                <c:pt idx="125">
                  <c:v>17.78</c:v>
                </c:pt>
                <c:pt idx="126" formatCode="General">
                  <c:v>14.11</c:v>
                </c:pt>
                <c:pt idx="127" formatCode="General">
                  <c:v>18.399999999999999</c:v>
                </c:pt>
                <c:pt idx="128" formatCode="General">
                  <c:v>14.44</c:v>
                </c:pt>
                <c:pt idx="129" formatCode="General">
                  <c:v>14.3</c:v>
                </c:pt>
                <c:pt idx="130" formatCode="General">
                  <c:v>16.649999999999999</c:v>
                </c:pt>
                <c:pt idx="131" formatCode="General">
                  <c:v>17.84</c:v>
                </c:pt>
                <c:pt idx="132" formatCode="General">
                  <c:v>15.58</c:v>
                </c:pt>
                <c:pt idx="133">
                  <c:v>17.399999999999999</c:v>
                </c:pt>
                <c:pt idx="134">
                  <c:v>15.17</c:v>
                </c:pt>
                <c:pt idx="135">
                  <c:v>17.2</c:v>
                </c:pt>
                <c:pt idx="136">
                  <c:v>17.309999999999999</c:v>
                </c:pt>
                <c:pt idx="137">
                  <c:v>17.09</c:v>
                </c:pt>
                <c:pt idx="138">
                  <c:v>15.83</c:v>
                </c:pt>
                <c:pt idx="139">
                  <c:v>14.53</c:v>
                </c:pt>
                <c:pt idx="140">
                  <c:v>15.36</c:v>
                </c:pt>
                <c:pt idx="141">
                  <c:v>14.42</c:v>
                </c:pt>
                <c:pt idx="142">
                  <c:v>15.21</c:v>
                </c:pt>
                <c:pt idx="143">
                  <c:v>17.87</c:v>
                </c:pt>
                <c:pt idx="144">
                  <c:v>14.85</c:v>
                </c:pt>
                <c:pt idx="145">
                  <c:v>14.6</c:v>
                </c:pt>
                <c:pt idx="146">
                  <c:v>14.45</c:v>
                </c:pt>
                <c:pt idx="147">
                  <c:v>15.27</c:v>
                </c:pt>
                <c:pt idx="148">
                  <c:v>13.61</c:v>
                </c:pt>
                <c:pt idx="149">
                  <c:v>13.98</c:v>
                </c:pt>
                <c:pt idx="150">
                  <c:v>13.17</c:v>
                </c:pt>
                <c:pt idx="151">
                  <c:v>12.84</c:v>
                </c:pt>
                <c:pt idx="152">
                  <c:v>13.48</c:v>
                </c:pt>
                <c:pt idx="153">
                  <c:v>12.62</c:v>
                </c:pt>
                <c:pt idx="154">
                  <c:v>12.9</c:v>
                </c:pt>
                <c:pt idx="155">
                  <c:v>13.43</c:v>
                </c:pt>
                <c:pt idx="156">
                  <c:v>13.2</c:v>
                </c:pt>
                <c:pt idx="157">
                  <c:v>13.65</c:v>
                </c:pt>
                <c:pt idx="158">
                  <c:v>14.03</c:v>
                </c:pt>
                <c:pt idx="159">
                  <c:v>13.84</c:v>
                </c:pt>
                <c:pt idx="160">
                  <c:v>13.99</c:v>
                </c:pt>
                <c:pt idx="161">
                  <c:v>13.2</c:v>
                </c:pt>
                <c:pt idx="162">
                  <c:v>12.32</c:v>
                </c:pt>
                <c:pt idx="163">
                  <c:v>12.82</c:v>
                </c:pt>
                <c:pt idx="164">
                  <c:v>13.05</c:v>
                </c:pt>
                <c:pt idx="165">
                  <c:v>12.9</c:v>
                </c:pt>
                <c:pt idx="166">
                  <c:v>10.16</c:v>
                </c:pt>
                <c:pt idx="167">
                  <c:v>13.53</c:v>
                </c:pt>
                <c:pt idx="168">
                  <c:v>14.42</c:v>
                </c:pt>
                <c:pt idx="169">
                  <c:v>14.01</c:v>
                </c:pt>
                <c:pt idx="170">
                  <c:v>14.14</c:v>
                </c:pt>
                <c:pt idx="171">
                  <c:v>15.35</c:v>
                </c:pt>
                <c:pt idx="172">
                  <c:v>15.13</c:v>
                </c:pt>
                <c:pt idx="173">
                  <c:v>14.13</c:v>
                </c:pt>
                <c:pt idx="174">
                  <c:v>14.11</c:v>
                </c:pt>
                <c:pt idx="175">
                  <c:v>15.47</c:v>
                </c:pt>
                <c:pt idx="176">
                  <c:v>15.67</c:v>
                </c:pt>
                <c:pt idx="177">
                  <c:v>15.06</c:v>
                </c:pt>
                <c:pt idx="178">
                  <c:v>13.64</c:v>
                </c:pt>
                <c:pt idx="179">
                  <c:v>15.75</c:v>
                </c:pt>
                <c:pt idx="180">
                  <c:v>16.649999999999999</c:v>
                </c:pt>
                <c:pt idx="181">
                  <c:v>15.8</c:v>
                </c:pt>
                <c:pt idx="182">
                  <c:v>16.3</c:v>
                </c:pt>
                <c:pt idx="183">
                  <c:v>15.95</c:v>
                </c:pt>
                <c:pt idx="184">
                  <c:v>16.41</c:v>
                </c:pt>
                <c:pt idx="185">
                  <c:v>16.010000000000002</c:v>
                </c:pt>
                <c:pt idx="186">
                  <c:v>16.2</c:v>
                </c:pt>
                <c:pt idx="187">
                  <c:v>16.14</c:v>
                </c:pt>
                <c:pt idx="188">
                  <c:v>15.91</c:v>
                </c:pt>
                <c:pt idx="189">
                  <c:v>15.37</c:v>
                </c:pt>
                <c:pt idx="190">
                  <c:v>15.45</c:v>
                </c:pt>
                <c:pt idx="191">
                  <c:v>15.29</c:v>
                </c:pt>
                <c:pt idx="192" formatCode="#,##0.00">
                  <c:v>14.76</c:v>
                </c:pt>
                <c:pt idx="193" formatCode="#,##0.00">
                  <c:v>14.73</c:v>
                </c:pt>
                <c:pt idx="194" formatCode="#,##0.00">
                  <c:v>14.46</c:v>
                </c:pt>
                <c:pt idx="195" formatCode="#,##0.00">
                  <c:v>14.25</c:v>
                </c:pt>
                <c:pt idx="196" formatCode="#,##0.00">
                  <c:v>14.05</c:v>
                </c:pt>
                <c:pt idx="197" formatCode="#,##0.00">
                  <c:v>13.82</c:v>
                </c:pt>
                <c:pt idx="198" formatCode="#,##0.00">
                  <c:v>14.09</c:v>
                </c:pt>
                <c:pt idx="199" formatCode="#,##0.00">
                  <c:v>14.83</c:v>
                </c:pt>
                <c:pt idx="200" formatCode="#,##0.00">
                  <c:v>15.44</c:v>
                </c:pt>
                <c:pt idx="201" formatCode="#,##0.00">
                  <c:v>15.49</c:v>
                </c:pt>
                <c:pt idx="202" formatCode="#,##0.00">
                  <c:v>15.54</c:v>
                </c:pt>
                <c:pt idx="203" formatCode="#,##0.00">
                  <c:v>14.54</c:v>
                </c:pt>
                <c:pt idx="204" formatCode="#,##0.00">
                  <c:v>14.84</c:v>
                </c:pt>
                <c:pt idx="205" formatCode="#,##0.00">
                  <c:v>14.59</c:v>
                </c:pt>
                <c:pt idx="206" formatCode="#,##0.00">
                  <c:v>14.33</c:v>
                </c:pt>
                <c:pt idx="207" formatCode="#,##0.00">
                  <c:v>14.07</c:v>
                </c:pt>
                <c:pt idx="208" formatCode="#,##0.00">
                  <c:v>13.89</c:v>
                </c:pt>
                <c:pt idx="209" formatCode="#,##0.00">
                  <c:v>13.54</c:v>
                </c:pt>
                <c:pt idx="210" formatCode="#,##0.00">
                  <c:v>13.25</c:v>
                </c:pt>
                <c:pt idx="211" formatCode="#,##0.00">
                  <c:v>13.56</c:v>
                </c:pt>
                <c:pt idx="212" formatCode="#,##0.00">
                  <c:v>13.51</c:v>
                </c:pt>
                <c:pt idx="213" formatCode="#,##0.00">
                  <c:v>13.84</c:v>
                </c:pt>
                <c:pt idx="214" formatCode="#,##0.00">
                  <c:v>14.78</c:v>
                </c:pt>
                <c:pt idx="215" formatCode="#,##0.00">
                  <c:v>14.45</c:v>
                </c:pt>
                <c:pt idx="216" formatCode="#,##0.00">
                  <c:v>14.42</c:v>
                </c:pt>
                <c:pt idx="217" formatCode="#,##0.00">
                  <c:v>14.76</c:v>
                </c:pt>
                <c:pt idx="218" formatCode="#,##0.00">
                  <c:v>10.31</c:v>
                </c:pt>
                <c:pt idx="219" formatCode="#,##0.00">
                  <c:v>15.95</c:v>
                </c:pt>
                <c:pt idx="220" formatCode="#,##0.00">
                  <c:v>14.75</c:v>
                </c:pt>
                <c:pt idx="221" formatCode="#,##0.00">
                  <c:v>15.62</c:v>
                </c:pt>
                <c:pt idx="222" formatCode="#,##0.00">
                  <c:v>15.61</c:v>
                </c:pt>
                <c:pt idx="223" formatCode="#,##0.00">
                  <c:v>17.12</c:v>
                </c:pt>
                <c:pt idx="224" formatCode="#,##0.00">
                  <c:v>15.14</c:v>
                </c:pt>
                <c:pt idx="225" formatCode="#,##0.00">
                  <c:v>15.87</c:v>
                </c:pt>
                <c:pt idx="226" formatCode="#,##0.00">
                  <c:v>14.81</c:v>
                </c:pt>
                <c:pt idx="227" formatCode="#,##0.00">
                  <c:v>15.81</c:v>
                </c:pt>
                <c:pt idx="228" formatCode="#,##0.00">
                  <c:v>17.010000000000002</c:v>
                </c:pt>
                <c:pt idx="229" formatCode="#,##0.00">
                  <c:v>18.149999999999999</c:v>
                </c:pt>
                <c:pt idx="230" formatCode="#,##0.00">
                  <c:v>15.78</c:v>
                </c:pt>
                <c:pt idx="231" formatCode="#,##0.00">
                  <c:v>15.87</c:v>
                </c:pt>
                <c:pt idx="232" formatCode="#,##0.00">
                  <c:v>16.84</c:v>
                </c:pt>
                <c:pt idx="233" formatCode="#,##0.00">
                  <c:v>18.329999999999998</c:v>
                </c:pt>
                <c:pt idx="234" formatCode="#,##0.00">
                  <c:v>18.260000000000002</c:v>
                </c:pt>
                <c:pt idx="235" formatCode="#,##0.00">
                  <c:v>17.3</c:v>
                </c:pt>
                <c:pt idx="236" formatCode="#,##0.00">
                  <c:v>17.57</c:v>
                </c:pt>
                <c:pt idx="237" formatCode="#,##0.00">
                  <c:v>18.93</c:v>
                </c:pt>
                <c:pt idx="238" formatCode="#,##0.00">
                  <c:v>18.16</c:v>
                </c:pt>
                <c:pt idx="239" formatCode="#,##0.00">
                  <c:v>18.38</c:v>
                </c:pt>
                <c:pt idx="240" formatCode="#,##0.00">
                  <c:v>17.68</c:v>
                </c:pt>
                <c:pt idx="241" formatCode="#,##0.00">
                  <c:v>17.16</c:v>
                </c:pt>
                <c:pt idx="242" formatCode="#,##0.00">
                  <c:v>16.420000000000002</c:v>
                </c:pt>
                <c:pt idx="243" formatCode="#,##0.00">
                  <c:v>16.559999999999999</c:v>
                </c:pt>
                <c:pt idx="244" formatCode="#,##0.00">
                  <c:v>18.670000000000002</c:v>
                </c:pt>
                <c:pt idx="245" formatCode="#,##0.00">
                  <c:v>16.62</c:v>
                </c:pt>
                <c:pt idx="246" formatCode="#,##0.00">
                  <c:v>15.2</c:v>
                </c:pt>
                <c:pt idx="247" formatCode="#,##0.00">
                  <c:v>15.14</c:v>
                </c:pt>
                <c:pt idx="248" formatCode="#,##0.00">
                  <c:v>13.55</c:v>
                </c:pt>
                <c:pt idx="249" formatCode="#,##0.00">
                  <c:v>13.86</c:v>
                </c:pt>
                <c:pt idx="250" formatCode="#,##0.00">
                  <c:v>14.52</c:v>
                </c:pt>
                <c:pt idx="251" formatCode="#,##0.00">
                  <c:v>14.65</c:v>
                </c:pt>
                <c:pt idx="252" formatCode="#,##0.00">
                  <c:v>15.12</c:v>
                </c:pt>
                <c:pt idx="253" formatCode="#,##0.00">
                  <c:v>14.54</c:v>
                </c:pt>
                <c:pt idx="254" formatCode="#,##0.00">
                  <c:v>16.2</c:v>
                </c:pt>
                <c:pt idx="255" formatCode="#,##0.00">
                  <c:v>15.98</c:v>
                </c:pt>
                <c:pt idx="256" formatCode="#,##0.00">
                  <c:v>16.489999999999998</c:v>
                </c:pt>
                <c:pt idx="257" formatCode="#,##0.00">
                  <c:v>16.989999999999998</c:v>
                </c:pt>
                <c:pt idx="258" formatCode="#,##0.00">
                  <c:v>15.35</c:v>
                </c:pt>
                <c:pt idx="259" formatCode="#,##0.00">
                  <c:v>12.88</c:v>
                </c:pt>
                <c:pt idx="260" formatCode="#,##0.00">
                  <c:v>16.12</c:v>
                </c:pt>
                <c:pt idx="261" formatCode="#,##0.00">
                  <c:v>15.94</c:v>
                </c:pt>
                <c:pt idx="262" formatCode="#,##0.00">
                  <c:v>15.69</c:v>
                </c:pt>
                <c:pt idx="263" formatCode="#,##0.00">
                  <c:v>16.09</c:v>
                </c:pt>
                <c:pt idx="264" formatCode="#,##0.00">
                  <c:v>15.2</c:v>
                </c:pt>
                <c:pt idx="265" formatCode="#,##0.00">
                  <c:v>16.670000000000002</c:v>
                </c:pt>
                <c:pt idx="266" formatCode="#,##0.00">
                  <c:v>16.899999999999999</c:v>
                </c:pt>
                <c:pt idx="267" formatCode="#,##0.00">
                  <c:v>15.77</c:v>
                </c:pt>
                <c:pt idx="268" formatCode="#,##0.00">
                  <c:v>16.13</c:v>
                </c:pt>
                <c:pt idx="269" formatCode="#,##0.00">
                  <c:v>17.16</c:v>
                </c:pt>
                <c:pt idx="270" formatCode="#,##0.00">
                  <c:v>17.670000000000002</c:v>
                </c:pt>
                <c:pt idx="271" formatCode="#,##0.00">
                  <c:v>17.52</c:v>
                </c:pt>
                <c:pt idx="272" formatCode="#,##0.00">
                  <c:v>19.96</c:v>
                </c:pt>
                <c:pt idx="273" formatCode="#,##0.00">
                  <c:v>17.43</c:v>
                </c:pt>
                <c:pt idx="274" formatCode="#,##0.00">
                  <c:v>17.64</c:v>
                </c:pt>
                <c:pt idx="275" formatCode="#,##0.00">
                  <c:v>17.399999999999999</c:v>
                </c:pt>
                <c:pt idx="276" formatCode="#,##0.00">
                  <c:v>18.239999999999998</c:v>
                </c:pt>
                <c:pt idx="277" formatCode="#,##0.00">
                  <c:v>17.690000000000001</c:v>
                </c:pt>
                <c:pt idx="278" formatCode="#,##0.00">
                  <c:v>17.440000000000001</c:v>
                </c:pt>
                <c:pt idx="279" formatCode="#,##0.00">
                  <c:v>18.18</c:v>
                </c:pt>
                <c:pt idx="280" formatCode="#,##0.00">
                  <c:v>18.77</c:v>
                </c:pt>
                <c:pt idx="281" formatCode="#,##0.00">
                  <c:v>17.13</c:v>
                </c:pt>
                <c:pt idx="282" formatCode="#,##0.00">
                  <c:v>17.47</c:v>
                </c:pt>
                <c:pt idx="283" formatCode="#,##0.00">
                  <c:v>17.66</c:v>
                </c:pt>
                <c:pt idx="284" formatCode="#,##0.00">
                  <c:v>16.32</c:v>
                </c:pt>
                <c:pt idx="285" formatCode="#,##0.00">
                  <c:v>15.18</c:v>
                </c:pt>
                <c:pt idx="286" formatCode="#,##0.00">
                  <c:v>17.55</c:v>
                </c:pt>
                <c:pt idx="287" formatCode="#,##0.00">
                  <c:v>17.3</c:v>
                </c:pt>
                <c:pt idx="288" formatCode="#,##0.00">
                  <c:v>15.84</c:v>
                </c:pt>
                <c:pt idx="289" formatCode="#,##0.00">
                  <c:v>16.260000000000002</c:v>
                </c:pt>
                <c:pt idx="290" formatCode="#,##0.00">
                  <c:v>15.51</c:v>
                </c:pt>
                <c:pt idx="291" formatCode="#,##0.00">
                  <c:v>16.670000000000002</c:v>
                </c:pt>
                <c:pt idx="292" formatCode="#,##0.00">
                  <c:v>15.83</c:v>
                </c:pt>
                <c:pt idx="293" formatCode="#,##0.00">
                  <c:v>17.12</c:v>
                </c:pt>
                <c:pt idx="294" formatCode="#,##0.00">
                  <c:v>17.62</c:v>
                </c:pt>
                <c:pt idx="295" formatCode="#,##0.00">
                  <c:v>16.760000000000002</c:v>
                </c:pt>
                <c:pt idx="296" formatCode="#,##0.00">
                  <c:v>17.43</c:v>
                </c:pt>
                <c:pt idx="297" formatCode="#,##0.00">
                  <c:v>16.170000000000002</c:v>
                </c:pt>
                <c:pt idx="298" formatCode="#,##0.00">
                  <c:v>17.809999999999999</c:v>
                </c:pt>
                <c:pt idx="299" formatCode="#,##0.00">
                  <c:v>16.54</c:v>
                </c:pt>
                <c:pt idx="300" formatCode="#,##0.00">
                  <c:v>16.649999999999999</c:v>
                </c:pt>
                <c:pt idx="301" formatCode="#,##0.00">
                  <c:v>16.29</c:v>
                </c:pt>
                <c:pt idx="302" formatCode="#,##0.00">
                  <c:v>19.809999999999999</c:v>
                </c:pt>
                <c:pt idx="303" formatCode="#,##0.00">
                  <c:v>16.8</c:v>
                </c:pt>
                <c:pt idx="304" formatCode="#,##0.00">
                  <c:v>15.87</c:v>
                </c:pt>
                <c:pt idx="305" formatCode="#,##0.00">
                  <c:v>15.7</c:v>
                </c:pt>
                <c:pt idx="306" formatCode="#,##0.00">
                  <c:v>16.3</c:v>
                </c:pt>
                <c:pt idx="307" formatCode="#,##0.00">
                  <c:v>16.649999999999999</c:v>
                </c:pt>
                <c:pt idx="308" formatCode="#,##0.00">
                  <c:v>16.95</c:v>
                </c:pt>
                <c:pt idx="309" formatCode="#,##0.00">
                  <c:v>15.9</c:v>
                </c:pt>
                <c:pt idx="310" formatCode="#,##0.00">
                  <c:v>15.59</c:v>
                </c:pt>
                <c:pt idx="311" formatCode="#,##0.00">
                  <c:v>15.61</c:v>
                </c:pt>
                <c:pt idx="312" formatCode="#,##0.00">
                  <c:v>15.8</c:v>
                </c:pt>
                <c:pt idx="313" formatCode="#,##0.00">
                  <c:v>16.309999999999999</c:v>
                </c:pt>
                <c:pt idx="314" formatCode="#,##0.00">
                  <c:v>16.88</c:v>
                </c:pt>
                <c:pt idx="315" formatCode="#,##0.00">
                  <c:v>17.010000000000002</c:v>
                </c:pt>
                <c:pt idx="316" formatCode="#,##0.00">
                  <c:v>18.39</c:v>
                </c:pt>
                <c:pt idx="317" formatCode="#,##0.00">
                  <c:v>15.38</c:v>
                </c:pt>
                <c:pt idx="318" formatCode="#,##0.00">
                  <c:v>16.62</c:v>
                </c:pt>
                <c:pt idx="319" formatCode="#,##0.00">
                  <c:v>18.62</c:v>
                </c:pt>
                <c:pt idx="320" formatCode="#,##0.00">
                  <c:v>16.86</c:v>
                </c:pt>
                <c:pt idx="321" formatCode="#,##0.00">
                  <c:v>21.52</c:v>
                </c:pt>
                <c:pt idx="322" formatCode="#,##0.00">
                  <c:v>17.21</c:v>
                </c:pt>
                <c:pt idx="323" formatCode="#,##0.00">
                  <c:v>18.73</c:v>
                </c:pt>
                <c:pt idx="324" formatCode="#,##0.00">
                  <c:v>18.78</c:v>
                </c:pt>
                <c:pt idx="325" formatCode="#,##0.00">
                  <c:v>18.36</c:v>
                </c:pt>
                <c:pt idx="326" formatCode="#,##0.00">
                  <c:v>18.05</c:v>
                </c:pt>
                <c:pt idx="327" formatCode="#,##0.00">
                  <c:v>18.21</c:v>
                </c:pt>
                <c:pt idx="328" formatCode="#,##0.00">
                  <c:v>19.54</c:v>
                </c:pt>
                <c:pt idx="329" formatCode="#,##0.00">
                  <c:v>18.399999999999999</c:v>
                </c:pt>
                <c:pt idx="330" formatCode="#,##0.00">
                  <c:v>18.91</c:v>
                </c:pt>
                <c:pt idx="331" formatCode="#,##0.00">
                  <c:v>19.100000000000001</c:v>
                </c:pt>
                <c:pt idx="332" formatCode="#,##0.00">
                  <c:v>19.27</c:v>
                </c:pt>
                <c:pt idx="333" formatCode="#,##0.00">
                  <c:v>20.18</c:v>
                </c:pt>
                <c:pt idx="334" formatCode="#,##0.00">
                  <c:v>20.6</c:v>
                </c:pt>
                <c:pt idx="335" formatCode="#,##0.00">
                  <c:v>20.86</c:v>
                </c:pt>
                <c:pt idx="336" formatCode="#,##0.00">
                  <c:v>22.34</c:v>
                </c:pt>
                <c:pt idx="337" formatCode="#,##0.00">
                  <c:v>20.77</c:v>
                </c:pt>
                <c:pt idx="338" formatCode="#,##0.00">
                  <c:v>20.260000000000002</c:v>
                </c:pt>
                <c:pt idx="339" formatCode="#,##0.00">
                  <c:v>21.07</c:v>
                </c:pt>
                <c:pt idx="340" formatCode="#,##0.00">
                  <c:v>21.98</c:v>
                </c:pt>
                <c:pt idx="341" formatCode="#,##0.00">
                  <c:v>23.02</c:v>
                </c:pt>
                <c:pt idx="342" formatCode="#,##0.00">
                  <c:v>22.29</c:v>
                </c:pt>
                <c:pt idx="343" formatCode="#,##0.00">
                  <c:v>18.010000000000002</c:v>
                </c:pt>
                <c:pt idx="344" formatCode="#,##0.00">
                  <c:v>21.61</c:v>
                </c:pt>
                <c:pt idx="345" formatCode="#,##0.00">
                  <c:v>22.07</c:v>
                </c:pt>
                <c:pt idx="346" formatCode="#,##0.00">
                  <c:v>24.07</c:v>
                </c:pt>
                <c:pt idx="347" formatCode="#,##0.00">
                  <c:v>23.17</c:v>
                </c:pt>
                <c:pt idx="348" formatCode="#,##0.00">
                  <c:v>21.54</c:v>
                </c:pt>
                <c:pt idx="349" formatCode="#,##0.00">
                  <c:v>22.75</c:v>
                </c:pt>
                <c:pt idx="350" formatCode="#,##0.00">
                  <c:v>22.41</c:v>
                </c:pt>
                <c:pt idx="351" formatCode="#,##0.00">
                  <c:v>22.56</c:v>
                </c:pt>
                <c:pt idx="352" formatCode="#,##0.00">
                  <c:v>23.64</c:v>
                </c:pt>
                <c:pt idx="353" formatCode="#,##0.00">
                  <c:v>22.49</c:v>
                </c:pt>
                <c:pt idx="354" formatCode="#,##0.00">
                  <c:v>23.09</c:v>
                </c:pt>
                <c:pt idx="355" formatCode="#,##0.00">
                  <c:v>22.96</c:v>
                </c:pt>
                <c:pt idx="356" formatCode="#,##0.00">
                  <c:v>24.86</c:v>
                </c:pt>
                <c:pt idx="357" formatCode="#,##0.00">
                  <c:v>21.96</c:v>
                </c:pt>
                <c:pt idx="358" formatCode="#,##0.00">
                  <c:v>21.98</c:v>
                </c:pt>
                <c:pt idx="359" formatCode="#,##0.00">
                  <c:v>22.85</c:v>
                </c:pt>
                <c:pt idx="360" formatCode="#,##0.00">
                  <c:v>23.85</c:v>
                </c:pt>
                <c:pt idx="361" formatCode="#,##0.00">
                  <c:v>24.91</c:v>
                </c:pt>
                <c:pt idx="362" formatCode="#,##0.00">
                  <c:v>23.75</c:v>
                </c:pt>
                <c:pt idx="363" formatCode="#,##0.00">
                  <c:v>24.94</c:v>
                </c:pt>
                <c:pt idx="364" formatCode="#,##0.00">
                  <c:v>27.24</c:v>
                </c:pt>
                <c:pt idx="365" formatCode="#,##0.00">
                  <c:v>24.59</c:v>
                </c:pt>
                <c:pt idx="366" formatCode="#,##0.00">
                  <c:v>25.38</c:v>
                </c:pt>
                <c:pt idx="367" formatCode="#,##0.00">
                  <c:v>25.18</c:v>
                </c:pt>
                <c:pt idx="368" formatCode="#,##0.00">
                  <c:v>26.98</c:v>
                </c:pt>
                <c:pt idx="369" formatCode="#,##0.00">
                  <c:v>26.66</c:v>
                </c:pt>
                <c:pt idx="370" formatCode="#,##0.00">
                  <c:v>25.58</c:v>
                </c:pt>
                <c:pt idx="371" formatCode="#,##0.00">
                  <c:v>25.03</c:v>
                </c:pt>
                <c:pt idx="372" formatCode="#,##0.00">
                  <c:v>25.91</c:v>
                </c:pt>
                <c:pt idx="373" formatCode="#,##0.00">
                  <c:v>26.76</c:v>
                </c:pt>
                <c:pt idx="374" formatCode="#,##0.00">
                  <c:v>27.53</c:v>
                </c:pt>
                <c:pt idx="375" formatCode="#,##0.00">
                  <c:v>27.71</c:v>
                </c:pt>
                <c:pt idx="376" formatCode="#,##0.00">
                  <c:v>27.59</c:v>
                </c:pt>
                <c:pt idx="377" formatCode="#,##0.00">
                  <c:v>28.12</c:v>
                </c:pt>
                <c:pt idx="378" formatCode="#,##0.00">
                  <c:v>28.54</c:v>
                </c:pt>
                <c:pt idx="379" formatCode="#,##0.00">
                  <c:v>29.13</c:v>
                </c:pt>
                <c:pt idx="380" formatCode="#,##0.00">
                  <c:v>29.12</c:v>
                </c:pt>
                <c:pt idx="381" formatCode="#,##0.00">
                  <c:v>31.48</c:v>
                </c:pt>
                <c:pt idx="382" formatCode="#,##0.00">
                  <c:v>31.72</c:v>
                </c:pt>
                <c:pt idx="383" formatCode="#,##0.00">
                  <c:v>30.46</c:v>
                </c:pt>
                <c:pt idx="384" formatCode="#,##0.00">
                  <c:v>29.57</c:v>
                </c:pt>
                <c:pt idx="385" formatCode="#,##0.00">
                  <c:v>31.27</c:v>
                </c:pt>
                <c:pt idx="386" formatCode="#,##0.00">
                  <c:v>30.79</c:v>
                </c:pt>
                <c:pt idx="387" formatCode="#,##0.00">
                  <c:v>30.69</c:v>
                </c:pt>
                <c:pt idx="388" formatCode="#,##0.00">
                  <c:v>29.18</c:v>
                </c:pt>
                <c:pt idx="389" formatCode="#,##0.00">
                  <c:v>30.63</c:v>
                </c:pt>
                <c:pt idx="390" formatCode="#,##0.00">
                  <c:v>31.27</c:v>
                </c:pt>
                <c:pt idx="391" formatCode="#,##0.00">
                  <c:v>29.55</c:v>
                </c:pt>
                <c:pt idx="392" formatCode="#,##0.00">
                  <c:v>28.83</c:v>
                </c:pt>
                <c:pt idx="393" formatCode="#,##0.00">
                  <c:v>29.3</c:v>
                </c:pt>
                <c:pt idx="394" formatCode="#,##0.00">
                  <c:v>29.2</c:v>
                </c:pt>
                <c:pt idx="395" formatCode="#,##0.00">
                  <c:v>27.97</c:v>
                </c:pt>
                <c:pt idx="396" formatCode="#,##0.00">
                  <c:v>27.51</c:v>
                </c:pt>
                <c:pt idx="397" formatCode="#,##0.00">
                  <c:v>27.7</c:v>
                </c:pt>
                <c:pt idx="398" formatCode="#,##0.00">
                  <c:v>26.76</c:v>
                </c:pt>
                <c:pt idx="399" formatCode="#,##0.00">
                  <c:v>27.83</c:v>
                </c:pt>
                <c:pt idx="400" formatCode="#,##0.00">
                  <c:v>26.73</c:v>
                </c:pt>
                <c:pt idx="401" formatCode="#,##0.00">
                  <c:v>25.21</c:v>
                </c:pt>
                <c:pt idx="402" formatCode="#,##0.00">
                  <c:v>25.96</c:v>
                </c:pt>
                <c:pt idx="403" formatCode="#,##0.00">
                  <c:v>26.48</c:v>
                </c:pt>
                <c:pt idx="404" formatCode="#,##0.00">
                  <c:v>27.21</c:v>
                </c:pt>
                <c:pt idx="405" formatCode="#,##0.00">
                  <c:v>26.85</c:v>
                </c:pt>
                <c:pt idx="406" formatCode="#,##0.00">
                  <c:v>25.86</c:v>
                </c:pt>
                <c:pt idx="407" formatCode="#,##0.00">
                  <c:v>30.43</c:v>
                </c:pt>
                <c:pt idx="408" formatCode="#,##0.00">
                  <c:v>25.66</c:v>
                </c:pt>
                <c:pt idx="409" formatCode="#,##0.00">
                  <c:v>25.57</c:v>
                </c:pt>
                <c:pt idx="410" formatCode="#,##0.00">
                  <c:v>25.98</c:v>
                </c:pt>
                <c:pt idx="411" formatCode="#,##0.00">
                  <c:v>26.75</c:v>
                </c:pt>
                <c:pt idx="412" formatCode="#,##0.00">
                  <c:v>25.36</c:v>
                </c:pt>
                <c:pt idx="413" formatCode="#,##0.00">
                  <c:v>26.19</c:v>
                </c:pt>
                <c:pt idx="414" formatCode="#,##0.00">
                  <c:v>24.31</c:v>
                </c:pt>
                <c:pt idx="415" formatCode="#,##0.00">
                  <c:v>25.68</c:v>
                </c:pt>
                <c:pt idx="416" formatCode="#,##0.00">
                  <c:v>26.57</c:v>
                </c:pt>
                <c:pt idx="417" formatCode="#,##0.00">
                  <c:v>25.15</c:v>
                </c:pt>
                <c:pt idx="418" formatCode="#,##0.00">
                  <c:v>28.52</c:v>
                </c:pt>
                <c:pt idx="419" formatCode="#,##0.00">
                  <c:v>30.66</c:v>
                </c:pt>
                <c:pt idx="420" formatCode="#,##0.00">
                  <c:v>27.43</c:v>
                </c:pt>
                <c:pt idx="421" formatCode="#,##0.00">
                  <c:v>29.69</c:v>
                </c:pt>
                <c:pt idx="422" formatCode="#,##0.00">
                  <c:v>27.74</c:v>
                </c:pt>
                <c:pt idx="423" formatCode="#,##0.00">
                  <c:v>28.58</c:v>
                </c:pt>
                <c:pt idx="424" formatCode="#,##0.00">
                  <c:v>29.16</c:v>
                </c:pt>
                <c:pt idx="425" formatCode="#,##0.00">
                  <c:v>27.77</c:v>
                </c:pt>
                <c:pt idx="426" formatCode="#,##0.00">
                  <c:v>28.03</c:v>
                </c:pt>
                <c:pt idx="427" formatCode="#,##0.00">
                  <c:v>27.04</c:v>
                </c:pt>
                <c:pt idx="428" formatCode="#,##0.00">
                  <c:v>28.78</c:v>
                </c:pt>
                <c:pt idx="429" formatCode="#,##0.00">
                  <c:v>27.6</c:v>
                </c:pt>
                <c:pt idx="430" formatCode="#,##0.00">
                  <c:v>27.97</c:v>
                </c:pt>
                <c:pt idx="431" formatCode="#,##0.00">
                  <c:v>27.54</c:v>
                </c:pt>
                <c:pt idx="432" formatCode="#,##0.00">
                  <c:v>28.7</c:v>
                </c:pt>
                <c:pt idx="433" formatCode="#,##0.00">
                  <c:v>26.2</c:v>
                </c:pt>
                <c:pt idx="434" formatCode="#,##0.00">
                  <c:v>26.98</c:v>
                </c:pt>
                <c:pt idx="435" formatCode="#,##0.00">
                  <c:v>27.84</c:v>
                </c:pt>
                <c:pt idx="436" formatCode="#,##0.00">
                  <c:v>28.32</c:v>
                </c:pt>
                <c:pt idx="437" formatCode="#,##0.00">
                  <c:v>29.68</c:v>
                </c:pt>
                <c:pt idx="439" formatCode="#,##0.00">
                  <c:v>27.13</c:v>
                </c:pt>
                <c:pt idx="440" formatCode="#,##0.00">
                  <c:v>24.5</c:v>
                </c:pt>
                <c:pt idx="441" formatCode="#,##0.00">
                  <c:v>24.04</c:v>
                </c:pt>
                <c:pt idx="442" formatCode="#,##0.00">
                  <c:v>25.08</c:v>
                </c:pt>
                <c:pt idx="443" formatCode="#,##0.00">
                  <c:v>25.31</c:v>
                </c:pt>
                <c:pt idx="444" formatCode="#,##0.00">
                  <c:v>34.909999999999997</c:v>
                </c:pt>
                <c:pt idx="445" formatCode="#,##0.00">
                  <c:v>26.35</c:v>
                </c:pt>
                <c:pt idx="446" formatCode="#,##0.00">
                  <c:v>25.78</c:v>
                </c:pt>
                <c:pt idx="447" formatCode="#,##0.00">
                  <c:v>25.01</c:v>
                </c:pt>
                <c:pt idx="448" formatCode="#,##0.00">
                  <c:v>26.28</c:v>
                </c:pt>
                <c:pt idx="449" formatCode="#,##0.00">
                  <c:v>24.13</c:v>
                </c:pt>
                <c:pt idx="450" formatCode="#,##0.00">
                  <c:v>22.83</c:v>
                </c:pt>
                <c:pt idx="451" formatCode="#,##0.00">
                  <c:v>24.35</c:v>
                </c:pt>
                <c:pt idx="452" formatCode="#,##0.00">
                  <c:v>25.18</c:v>
                </c:pt>
                <c:pt idx="453" formatCode="#,##0.00">
                  <c:v>24.19</c:v>
                </c:pt>
                <c:pt idx="454" formatCode="#,##0.00">
                  <c:v>23.65</c:v>
                </c:pt>
                <c:pt idx="455" formatCode="#,##0.00">
                  <c:v>23.76</c:v>
                </c:pt>
                <c:pt idx="456" formatCode="#,##0.00">
                  <c:v>24.38</c:v>
                </c:pt>
                <c:pt idx="457" formatCode="#,##0.00">
                  <c:v>22.8</c:v>
                </c:pt>
                <c:pt idx="458" formatCode="#,##0.00">
                  <c:v>23.93</c:v>
                </c:pt>
                <c:pt idx="459" formatCode="#,##0.00">
                  <c:v>23.67</c:v>
                </c:pt>
                <c:pt idx="460" formatCode="#,##0.00">
                  <c:v>22.06</c:v>
                </c:pt>
                <c:pt idx="461" formatCode="#,##0.00">
                  <c:v>22.81</c:v>
                </c:pt>
                <c:pt idx="462" formatCode="#,##0.00">
                  <c:v>23.03</c:v>
                </c:pt>
                <c:pt idx="463" formatCode="#,##0.00">
                  <c:v>22.21</c:v>
                </c:pt>
                <c:pt idx="464" formatCode="#,##0.00">
                  <c:v>24.42</c:v>
                </c:pt>
                <c:pt idx="465" formatCode="#,##0.00">
                  <c:v>23.98</c:v>
                </c:pt>
                <c:pt idx="466" formatCode="#,##0.00">
                  <c:v>25.07</c:v>
                </c:pt>
                <c:pt idx="467" formatCode="#,##0.00">
                  <c:v>24.87</c:v>
                </c:pt>
                <c:pt idx="468" formatCode="General">
                  <c:v>25.39</c:v>
                </c:pt>
                <c:pt idx="469" formatCode="General">
                  <c:v>25.25</c:v>
                </c:pt>
                <c:pt idx="470" formatCode="General">
                  <c:v>25.4</c:v>
                </c:pt>
                <c:pt idx="471" formatCode="General">
                  <c:v>24.83</c:v>
                </c:pt>
                <c:pt idx="472" formatCode="General">
                  <c:v>26.32</c:v>
                </c:pt>
                <c:pt idx="473" formatCode="General">
                  <c:v>25.71</c:v>
                </c:pt>
                <c:pt idx="474" formatCode="General">
                  <c:v>26.03</c:v>
                </c:pt>
                <c:pt idx="475" formatCode="General">
                  <c:v>25.49</c:v>
                </c:pt>
                <c:pt idx="476" formatCode="General">
                  <c:v>26.23</c:v>
                </c:pt>
                <c:pt idx="477" formatCode="General">
                  <c:v>25.19</c:v>
                </c:pt>
                <c:pt idx="478" formatCode="General">
                  <c:v>25.45</c:v>
                </c:pt>
                <c:pt idx="479" formatCode="General">
                  <c:v>26.32</c:v>
                </c:pt>
                <c:pt idx="480" formatCode="General">
                  <c:v>26.13</c:v>
                </c:pt>
                <c:pt idx="481" formatCode="General">
                  <c:v>26.54</c:v>
                </c:pt>
                <c:pt idx="482" formatCode="General">
                  <c:v>25.01</c:v>
                </c:pt>
                <c:pt idx="483" formatCode="General">
                  <c:v>24.26</c:v>
                </c:pt>
                <c:pt idx="495" formatCode="General">
                  <c:v>27.64</c:v>
                </c:pt>
                <c:pt idx="496" formatCode="General">
                  <c:v>25.87</c:v>
                </c:pt>
                <c:pt idx="497" formatCode="General">
                  <c:v>25.65</c:v>
                </c:pt>
                <c:pt idx="498" formatCode="General">
                  <c:v>21.08</c:v>
                </c:pt>
                <c:pt idx="499" formatCode="General">
                  <c:v>24.71</c:v>
                </c:pt>
                <c:pt idx="500" formatCode="General">
                  <c:v>23.08</c:v>
                </c:pt>
                <c:pt idx="501" formatCode="General">
                  <c:v>25.14</c:v>
                </c:pt>
                <c:pt idx="502" formatCode="General">
                  <c:v>25.38</c:v>
                </c:pt>
                <c:pt idx="503" formatCode="General">
                  <c:v>22.15</c:v>
                </c:pt>
                <c:pt idx="504" formatCode="General">
                  <c:v>22.79</c:v>
                </c:pt>
                <c:pt idx="505" formatCode="General">
                  <c:v>22.26</c:v>
                </c:pt>
                <c:pt idx="506" formatCode="General">
                  <c:v>22.53</c:v>
                </c:pt>
                <c:pt idx="507" formatCode="General">
                  <c:v>23.59</c:v>
                </c:pt>
                <c:pt idx="508" formatCode="General">
                  <c:v>22.99</c:v>
                </c:pt>
                <c:pt idx="509" formatCode="General">
                  <c:v>22.51</c:v>
                </c:pt>
                <c:pt idx="510" formatCode="General">
                  <c:v>25.1</c:v>
                </c:pt>
                <c:pt idx="511" formatCode="General">
                  <c:v>22.46</c:v>
                </c:pt>
                <c:pt idx="512" formatCode="General">
                  <c:v>22.81</c:v>
                </c:pt>
                <c:pt idx="513" formatCode="General">
                  <c:v>23.22</c:v>
                </c:pt>
                <c:pt idx="514" formatCode="General">
                  <c:v>23.41</c:v>
                </c:pt>
                <c:pt idx="515" formatCode="General">
                  <c:v>22.79</c:v>
                </c:pt>
                <c:pt idx="516" formatCode="General">
                  <c:v>24.13</c:v>
                </c:pt>
                <c:pt idx="517" formatCode="General">
                  <c:v>22.45</c:v>
                </c:pt>
                <c:pt idx="518" formatCode="General">
                  <c:v>23.32</c:v>
                </c:pt>
                <c:pt idx="519" formatCode="General">
                  <c:v>23.44</c:v>
                </c:pt>
                <c:pt idx="520" formatCode="General">
                  <c:v>25.74</c:v>
                </c:pt>
                <c:pt idx="521" formatCode="General">
                  <c:v>25.51</c:v>
                </c:pt>
                <c:pt idx="522" formatCode="General">
                  <c:v>25.84</c:v>
                </c:pt>
                <c:pt idx="523" formatCode="General">
                  <c:v>25.11</c:v>
                </c:pt>
                <c:pt idx="524" formatCode="General">
                  <c:v>24.57</c:v>
                </c:pt>
                <c:pt idx="525" formatCode="General">
                  <c:v>25.26</c:v>
                </c:pt>
                <c:pt idx="526" formatCode="General">
                  <c:v>27.11</c:v>
                </c:pt>
                <c:pt idx="527" formatCode="General">
                  <c:v>28.47</c:v>
                </c:pt>
                <c:pt idx="528" formatCode="General">
                  <c:v>27.37</c:v>
                </c:pt>
                <c:pt idx="529" formatCode="General">
                  <c:v>27.27</c:v>
                </c:pt>
                <c:pt idx="530" formatCode="General">
                  <c:v>29.92</c:v>
                </c:pt>
                <c:pt idx="531" formatCode="General">
                  <c:v>28.62</c:v>
                </c:pt>
                <c:pt idx="532" formatCode="General">
                  <c:v>28.66</c:v>
                </c:pt>
                <c:pt idx="533" formatCode="General">
                  <c:v>30.42</c:v>
                </c:pt>
                <c:pt idx="534" formatCode="General">
                  <c:v>26.99</c:v>
                </c:pt>
                <c:pt idx="535" formatCode="General">
                  <c:v>29.52</c:v>
                </c:pt>
                <c:pt idx="536" formatCode="General">
                  <c:v>27.35</c:v>
                </c:pt>
                <c:pt idx="537" formatCode="General">
                  <c:v>27.79</c:v>
                </c:pt>
                <c:pt idx="538" formatCode="General">
                  <c:v>28.75</c:v>
                </c:pt>
                <c:pt idx="539" formatCode="General">
                  <c:v>29.7</c:v>
                </c:pt>
                <c:pt idx="540" formatCode="General">
                  <c:v>28</c:v>
                </c:pt>
                <c:pt idx="541" formatCode="General">
                  <c:v>29.16</c:v>
                </c:pt>
                <c:pt idx="542" formatCode="General">
                  <c:v>29.15</c:v>
                </c:pt>
                <c:pt idx="543" formatCode="General">
                  <c:v>29.26</c:v>
                </c:pt>
                <c:pt idx="544" formatCode="General">
                  <c:v>28.48</c:v>
                </c:pt>
                <c:pt idx="545" formatCode="General">
                  <c:v>28.42</c:v>
                </c:pt>
                <c:pt idx="546" formatCode="General">
                  <c:v>27.81</c:v>
                </c:pt>
                <c:pt idx="547" formatCode="General">
                  <c:v>27.94</c:v>
                </c:pt>
                <c:pt idx="548" formatCode="General">
                  <c:v>28</c:v>
                </c:pt>
                <c:pt idx="549" formatCode="General">
                  <c:v>27.92</c:v>
                </c:pt>
                <c:pt idx="550" formatCode="General">
                  <c:v>27.23</c:v>
                </c:pt>
                <c:pt idx="551" formatCode="General">
                  <c:v>27.06</c:v>
                </c:pt>
                <c:pt idx="552" formatCode="General">
                  <c:v>27.99</c:v>
                </c:pt>
                <c:pt idx="553" formatCode="General">
                  <c:v>27.47</c:v>
                </c:pt>
                <c:pt idx="554" formatCode="#,##0.00">
                  <c:v>28.33</c:v>
                </c:pt>
                <c:pt idx="555" formatCode="#,##0.00">
                  <c:v>28.44</c:v>
                </c:pt>
                <c:pt idx="556" formatCode="#,##0.00">
                  <c:v>30.13</c:v>
                </c:pt>
                <c:pt idx="557" formatCode="#,##0.00">
                  <c:v>28.58</c:v>
                </c:pt>
                <c:pt idx="558" formatCode="#,##0.00">
                  <c:v>27.89</c:v>
                </c:pt>
                <c:pt idx="559" formatCode="#,##0.00">
                  <c:v>29.07</c:v>
                </c:pt>
                <c:pt idx="560" formatCode="#,##0.00">
                  <c:v>29.02</c:v>
                </c:pt>
                <c:pt idx="563" formatCode="#,##0.00">
                  <c:v>32.4</c:v>
                </c:pt>
                <c:pt idx="564" formatCode="#,##0.00">
                  <c:v>28.6</c:v>
                </c:pt>
                <c:pt idx="565" formatCode="#,##0.00">
                  <c:v>29.48</c:v>
                </c:pt>
                <c:pt idx="566" formatCode="#,##0.00">
                  <c:v>28.55</c:v>
                </c:pt>
                <c:pt idx="567" formatCode="#,##0.00">
                  <c:v>29.22</c:v>
                </c:pt>
                <c:pt idx="568" formatCode="#,##0.00">
                  <c:v>31.18</c:v>
                </c:pt>
                <c:pt idx="569" formatCode="#,##0.00">
                  <c:v>29.76</c:v>
                </c:pt>
                <c:pt idx="570" formatCode="#,##0.00">
                  <c:v>29.62</c:v>
                </c:pt>
                <c:pt idx="571" formatCode="#,##0.00">
                  <c:v>31.43</c:v>
                </c:pt>
                <c:pt idx="572" formatCode="#,##0.00">
                  <c:v>29.92</c:v>
                </c:pt>
                <c:pt idx="573" formatCode="#,##0.00">
                  <c:v>30.85</c:v>
                </c:pt>
                <c:pt idx="574" formatCode="#,##0.00">
                  <c:v>31.32</c:v>
                </c:pt>
                <c:pt idx="575" formatCode="#,##0.00">
                  <c:v>31.82</c:v>
                </c:pt>
                <c:pt idx="576" formatCode="#,##0.00">
                  <c:v>34.340000000000003</c:v>
                </c:pt>
                <c:pt idx="577" formatCode="#,##0.00">
                  <c:v>31.91</c:v>
                </c:pt>
                <c:pt idx="578" formatCode="#,##0.00">
                  <c:v>34.19</c:v>
                </c:pt>
                <c:pt idx="579" formatCode="#,##0.00">
                  <c:v>33.950000000000003</c:v>
                </c:pt>
                <c:pt idx="580" formatCode="#,##0.00">
                  <c:v>33.270000000000003</c:v>
                </c:pt>
                <c:pt idx="581" formatCode="#,##0.00">
                  <c:v>32.590000000000003</c:v>
                </c:pt>
                <c:pt idx="582" formatCode="#,##0.00">
                  <c:v>32.92</c:v>
                </c:pt>
                <c:pt idx="583" formatCode="General">
                  <c:v>33.21</c:v>
                </c:pt>
                <c:pt idx="584" formatCode="General">
                  <c:v>31.27</c:v>
                </c:pt>
                <c:pt idx="585" formatCode="General">
                  <c:v>33.21</c:v>
                </c:pt>
                <c:pt idx="586" formatCode="General">
                  <c:v>33.159999999999997</c:v>
                </c:pt>
                <c:pt idx="587" formatCode="General">
                  <c:v>33.020000000000003</c:v>
                </c:pt>
                <c:pt idx="588" formatCode="General">
                  <c:v>34</c:v>
                </c:pt>
                <c:pt idx="589" formatCode="General">
                  <c:v>32.43</c:v>
                </c:pt>
                <c:pt idx="590" formatCode="General">
                  <c:v>32.049999999999997</c:v>
                </c:pt>
                <c:pt idx="591" formatCode="General">
                  <c:v>33.08</c:v>
                </c:pt>
                <c:pt idx="592" formatCode="General">
                  <c:v>32.6</c:v>
                </c:pt>
                <c:pt idx="593" formatCode="General">
                  <c:v>33.29</c:v>
                </c:pt>
                <c:pt idx="594" formatCode="General">
                  <c:v>31.53</c:v>
                </c:pt>
                <c:pt idx="595" formatCode="General">
                  <c:v>29.92</c:v>
                </c:pt>
                <c:pt idx="596" formatCode="General">
                  <c:v>30.47</c:v>
                </c:pt>
                <c:pt idx="597" formatCode="General">
                  <c:v>30.59</c:v>
                </c:pt>
                <c:pt idx="598" formatCode="General">
                  <c:v>30.16</c:v>
                </c:pt>
                <c:pt idx="599" formatCode="General">
                  <c:v>29.54</c:v>
                </c:pt>
                <c:pt idx="600" formatCode="General">
                  <c:v>31.12</c:v>
                </c:pt>
                <c:pt idx="601" formatCode="General">
                  <c:v>30.95</c:v>
                </c:pt>
                <c:pt idx="602" formatCode="General">
                  <c:v>30.59</c:v>
                </c:pt>
                <c:pt idx="603" formatCode="General">
                  <c:v>30.31</c:v>
                </c:pt>
                <c:pt idx="604" formatCode="General">
                  <c:v>30.89</c:v>
                </c:pt>
                <c:pt idx="605" formatCode="General">
                  <c:v>30.6</c:v>
                </c:pt>
                <c:pt idx="606" formatCode="General">
                  <c:v>31.41</c:v>
                </c:pt>
                <c:pt idx="607" formatCode="General">
                  <c:v>31.45</c:v>
                </c:pt>
                <c:pt idx="608" formatCode="General">
                  <c:v>31.3</c:v>
                </c:pt>
                <c:pt idx="609" formatCode="General">
                  <c:v>31.67</c:v>
                </c:pt>
                <c:pt idx="610" formatCode="General">
                  <c:v>31.98</c:v>
                </c:pt>
                <c:pt idx="611" formatCode="General">
                  <c:v>30.97</c:v>
                </c:pt>
                <c:pt idx="612" formatCode="General">
                  <c:v>31.12</c:v>
                </c:pt>
                <c:pt idx="613" formatCode="General">
                  <c:v>32.119999999999997</c:v>
                </c:pt>
                <c:pt idx="614" formatCode="General">
                  <c:v>31.26</c:v>
                </c:pt>
                <c:pt idx="615" formatCode="General">
                  <c:v>29.65</c:v>
                </c:pt>
                <c:pt idx="620" formatCode="General">
                  <c:v>32.18</c:v>
                </c:pt>
                <c:pt idx="621" formatCode="General">
                  <c:v>33.57</c:v>
                </c:pt>
                <c:pt idx="622" formatCode="General">
                  <c:v>32.85</c:v>
                </c:pt>
                <c:pt idx="623" formatCode="General">
                  <c:v>33.619999999999997</c:v>
                </c:pt>
                <c:pt idx="624" formatCode="General">
                  <c:v>32.32</c:v>
                </c:pt>
                <c:pt idx="625" formatCode="General">
                  <c:v>33.18</c:v>
                </c:pt>
                <c:pt idx="626" formatCode="General">
                  <c:v>31.51</c:v>
                </c:pt>
                <c:pt idx="627" formatCode="General">
                  <c:v>32.78</c:v>
                </c:pt>
                <c:pt idx="628" formatCode="General">
                  <c:v>32.479999999999997</c:v>
                </c:pt>
                <c:pt idx="629" formatCode="General">
                  <c:v>31.41</c:v>
                </c:pt>
                <c:pt idx="630" formatCode="General">
                  <c:v>33.26</c:v>
                </c:pt>
                <c:pt idx="631" formatCode="General">
                  <c:v>32.83</c:v>
                </c:pt>
                <c:pt idx="632" formatCode="General">
                  <c:v>32.880000000000003</c:v>
                </c:pt>
                <c:pt idx="633" formatCode="General">
                  <c:v>33.380000000000003</c:v>
                </c:pt>
                <c:pt idx="634" formatCode="General">
                  <c:v>32.81</c:v>
                </c:pt>
                <c:pt idx="635" formatCode="General">
                  <c:v>31.56</c:v>
                </c:pt>
                <c:pt idx="636" formatCode="General">
                  <c:v>32.590000000000003</c:v>
                </c:pt>
                <c:pt idx="637" formatCode="General">
                  <c:v>31.27</c:v>
                </c:pt>
                <c:pt idx="638" formatCode="General">
                  <c:v>30.08</c:v>
                </c:pt>
                <c:pt idx="639" formatCode="General">
                  <c:v>30.17</c:v>
                </c:pt>
                <c:pt idx="640" formatCode="General">
                  <c:v>28.87</c:v>
                </c:pt>
                <c:pt idx="641" formatCode="General">
                  <c:v>27.26</c:v>
                </c:pt>
                <c:pt idx="642" formatCode="General">
                  <c:v>30</c:v>
                </c:pt>
                <c:pt idx="643" formatCode="General">
                  <c:v>29.24</c:v>
                </c:pt>
                <c:pt idx="644" formatCode="General">
                  <c:v>29.64</c:v>
                </c:pt>
                <c:pt idx="645" formatCode="General">
                  <c:v>28.51</c:v>
                </c:pt>
                <c:pt idx="646" formatCode="General">
                  <c:v>29.41</c:v>
                </c:pt>
                <c:pt idx="647" formatCode="General">
                  <c:v>27.39</c:v>
                </c:pt>
                <c:pt idx="648" formatCode="General">
                  <c:v>28.02</c:v>
                </c:pt>
                <c:pt idx="649" formatCode="General">
                  <c:v>27.89</c:v>
                </c:pt>
                <c:pt idx="650" formatCode="General">
                  <c:v>26.77</c:v>
                </c:pt>
                <c:pt idx="651" formatCode="General">
                  <c:v>25.91</c:v>
                </c:pt>
                <c:pt idx="652" formatCode="General">
                  <c:v>26.31</c:v>
                </c:pt>
                <c:pt idx="653" formatCode="General">
                  <c:v>25.72</c:v>
                </c:pt>
                <c:pt idx="654" formatCode="General">
                  <c:v>27.32</c:v>
                </c:pt>
                <c:pt idx="655" formatCode="General">
                  <c:v>25.58</c:v>
                </c:pt>
                <c:pt idx="656" formatCode="General">
                  <c:v>29.15</c:v>
                </c:pt>
                <c:pt idx="657" formatCode="General">
                  <c:v>27.12</c:v>
                </c:pt>
                <c:pt idx="658" formatCode="General">
                  <c:v>27.37</c:v>
                </c:pt>
                <c:pt idx="659" formatCode="General">
                  <c:v>28.62</c:v>
                </c:pt>
                <c:pt idx="660" formatCode="General">
                  <c:v>27.58</c:v>
                </c:pt>
                <c:pt idx="661" formatCode="General">
                  <c:v>27.45</c:v>
                </c:pt>
                <c:pt idx="662" formatCode="General">
                  <c:v>32.590000000000003</c:v>
                </c:pt>
                <c:pt idx="663" formatCode="General">
                  <c:v>29.62</c:v>
                </c:pt>
                <c:pt idx="664" formatCode="General">
                  <c:v>28.28</c:v>
                </c:pt>
                <c:pt idx="665" formatCode="General">
                  <c:v>29</c:v>
                </c:pt>
                <c:pt idx="666" formatCode="General">
                  <c:v>30.71</c:v>
                </c:pt>
                <c:pt idx="667" formatCode="General">
                  <c:v>28.51</c:v>
                </c:pt>
                <c:pt idx="668" formatCode="General">
                  <c:v>29.34</c:v>
                </c:pt>
                <c:pt idx="669" formatCode="General">
                  <c:v>29.85</c:v>
                </c:pt>
                <c:pt idx="670" formatCode="General">
                  <c:v>29.04</c:v>
                </c:pt>
                <c:pt idx="671" formatCode="General">
                  <c:v>30.96</c:v>
                </c:pt>
                <c:pt idx="672" formatCode="General">
                  <c:v>29.95</c:v>
                </c:pt>
                <c:pt idx="673" formatCode="General">
                  <c:v>29.61</c:v>
                </c:pt>
                <c:pt idx="674" formatCode="General">
                  <c:v>31.61</c:v>
                </c:pt>
                <c:pt idx="675" formatCode="General">
                  <c:v>30.42</c:v>
                </c:pt>
                <c:pt idx="676" formatCode="General">
                  <c:v>30.27</c:v>
                </c:pt>
                <c:pt idx="677" formatCode="General">
                  <c:v>30.18</c:v>
                </c:pt>
                <c:pt idx="678" formatCode="General">
                  <c:v>29.74</c:v>
                </c:pt>
                <c:pt idx="679" formatCode="General">
                  <c:v>30.25</c:v>
                </c:pt>
                <c:pt idx="680" formatCode="General">
                  <c:v>30.54</c:v>
                </c:pt>
                <c:pt idx="681" formatCode="General">
                  <c:v>31.1</c:v>
                </c:pt>
                <c:pt idx="682" formatCode="General">
                  <c:v>29.69</c:v>
                </c:pt>
                <c:pt idx="683" formatCode="General">
                  <c:v>33.39</c:v>
                </c:pt>
                <c:pt idx="684" formatCode="General">
                  <c:v>37.21</c:v>
                </c:pt>
                <c:pt idx="685" formatCode="General">
                  <c:v>31.56</c:v>
                </c:pt>
                <c:pt idx="686" formatCode="General">
                  <c:v>29.87</c:v>
                </c:pt>
                <c:pt idx="687" formatCode="General">
                  <c:v>29.81</c:v>
                </c:pt>
                <c:pt idx="688" formatCode="General">
                  <c:v>30.23</c:v>
                </c:pt>
                <c:pt idx="689" formatCode="General">
                  <c:v>29.94</c:v>
                </c:pt>
                <c:pt idx="690" formatCode="General">
                  <c:v>29.55</c:v>
                </c:pt>
                <c:pt idx="691" formatCode="General">
                  <c:v>28.74</c:v>
                </c:pt>
                <c:pt idx="692" formatCode="General">
                  <c:v>28.64</c:v>
                </c:pt>
                <c:pt idx="693" formatCode="General">
                  <c:v>26.12</c:v>
                </c:pt>
                <c:pt idx="694" formatCode="General">
                  <c:v>26.01</c:v>
                </c:pt>
                <c:pt idx="695" formatCode="General">
                  <c:v>25.66</c:v>
                </c:pt>
                <c:pt idx="696" formatCode="General">
                  <c:v>23.98</c:v>
                </c:pt>
                <c:pt idx="697" formatCode="General">
                  <c:v>24.64</c:v>
                </c:pt>
                <c:pt idx="698" formatCode="General">
                  <c:v>24.2</c:v>
                </c:pt>
                <c:pt idx="699" formatCode="General">
                  <c:v>24.65</c:v>
                </c:pt>
                <c:pt idx="700" formatCode="General">
                  <c:v>27.69</c:v>
                </c:pt>
                <c:pt idx="701" formatCode="General">
                  <c:v>25.92</c:v>
                </c:pt>
                <c:pt idx="702" formatCode="General">
                  <c:v>27.12</c:v>
                </c:pt>
                <c:pt idx="703" formatCode="General">
                  <c:v>27.49</c:v>
                </c:pt>
                <c:pt idx="704" formatCode="General">
                  <c:v>26.51</c:v>
                </c:pt>
                <c:pt idx="705" formatCode="General">
                  <c:v>25.5</c:v>
                </c:pt>
                <c:pt idx="706" formatCode="General">
                  <c:v>27.52</c:v>
                </c:pt>
                <c:pt idx="707" formatCode="General">
                  <c:v>25.72</c:v>
                </c:pt>
                <c:pt idx="708" formatCode="General">
                  <c:v>24.45</c:v>
                </c:pt>
                <c:pt idx="709" formatCode="General">
                  <c:v>26.62</c:v>
                </c:pt>
                <c:pt idx="710" formatCode="General">
                  <c:v>26.26</c:v>
                </c:pt>
                <c:pt idx="711" formatCode="General">
                  <c:v>28.19</c:v>
                </c:pt>
                <c:pt idx="712" formatCode="General">
                  <c:v>27.7</c:v>
                </c:pt>
                <c:pt idx="713" formatCode="General">
                  <c:v>26.89</c:v>
                </c:pt>
                <c:pt idx="714" formatCode="General">
                  <c:v>27.86</c:v>
                </c:pt>
                <c:pt idx="715" formatCode="General">
                  <c:v>29.06</c:v>
                </c:pt>
                <c:pt idx="716" formatCode="General">
                  <c:v>28.4</c:v>
                </c:pt>
                <c:pt idx="717" formatCode="General">
                  <c:v>29.27</c:v>
                </c:pt>
                <c:pt idx="718" formatCode="General">
                  <c:v>28.25</c:v>
                </c:pt>
                <c:pt idx="719" formatCode="General">
                  <c:v>24.76</c:v>
                </c:pt>
                <c:pt idx="720" formatCode="General">
                  <c:v>28.22</c:v>
                </c:pt>
                <c:pt idx="721" formatCode="General">
                  <c:v>28.68</c:v>
                </c:pt>
                <c:pt idx="722" formatCode="General">
                  <c:v>30.33</c:v>
                </c:pt>
                <c:pt idx="723" formatCode="General">
                  <c:v>27.31</c:v>
                </c:pt>
                <c:pt idx="724" formatCode="General">
                  <c:v>27.57</c:v>
                </c:pt>
                <c:pt idx="725" formatCode="General">
                  <c:v>29.25</c:v>
                </c:pt>
                <c:pt idx="726" formatCode="General">
                  <c:v>29.84</c:v>
                </c:pt>
                <c:pt idx="727" formatCode="General">
                  <c:v>30.33</c:v>
                </c:pt>
                <c:pt idx="728" formatCode="General">
                  <c:v>30.8</c:v>
                </c:pt>
                <c:pt idx="729" formatCode="General">
                  <c:v>30.23</c:v>
                </c:pt>
                <c:pt idx="730" formatCode="General">
                  <c:v>30.46</c:v>
                </c:pt>
                <c:pt idx="731" formatCode="General">
                  <c:v>31.69</c:v>
                </c:pt>
                <c:pt idx="732" formatCode="General">
                  <c:v>31.96</c:v>
                </c:pt>
                <c:pt idx="733" formatCode="General">
                  <c:v>30.37</c:v>
                </c:pt>
                <c:pt idx="734" formatCode="General">
                  <c:v>30.77</c:v>
                </c:pt>
                <c:pt idx="735" formatCode="General">
                  <c:v>31.14</c:v>
                </c:pt>
                <c:pt idx="736" formatCode="General">
                  <c:v>31.46</c:v>
                </c:pt>
                <c:pt idx="737" formatCode="General">
                  <c:v>28.65</c:v>
                </c:pt>
                <c:pt idx="738" formatCode="General">
                  <c:v>27.94</c:v>
                </c:pt>
                <c:pt idx="739" formatCode="General">
                  <c:v>27.2</c:v>
                </c:pt>
                <c:pt idx="740" formatCode="General">
                  <c:v>26.32</c:v>
                </c:pt>
                <c:pt idx="741" formatCode="General">
                  <c:v>28.35</c:v>
                </c:pt>
                <c:pt idx="742" formatCode="General">
                  <c:v>26.28</c:v>
                </c:pt>
                <c:pt idx="743" formatCode="General">
                  <c:v>26.56</c:v>
                </c:pt>
                <c:pt idx="744" formatCode="General">
                  <c:v>26.63</c:v>
                </c:pt>
                <c:pt idx="745" formatCode="General">
                  <c:v>28.95</c:v>
                </c:pt>
                <c:pt idx="746" formatCode="General">
                  <c:v>27.55</c:v>
                </c:pt>
                <c:pt idx="747" formatCode="General">
                  <c:v>27.5</c:v>
                </c:pt>
                <c:pt idx="748" formatCode="General">
                  <c:v>28.55</c:v>
                </c:pt>
                <c:pt idx="749" formatCode="General">
                  <c:v>29.41</c:v>
                </c:pt>
                <c:pt idx="750" formatCode="General">
                  <c:v>28.14</c:v>
                </c:pt>
                <c:pt idx="751" formatCode="General">
                  <c:v>30.57</c:v>
                </c:pt>
                <c:pt idx="752" formatCode="General">
                  <c:v>30.37</c:v>
                </c:pt>
                <c:pt idx="753" formatCode="General">
                  <c:v>30.42</c:v>
                </c:pt>
                <c:pt idx="754" formatCode="General">
                  <c:v>30.19</c:v>
                </c:pt>
                <c:pt idx="755" formatCode="General">
                  <c:v>32.770000000000003</c:v>
                </c:pt>
                <c:pt idx="756" formatCode="General">
                  <c:v>34.04</c:v>
                </c:pt>
                <c:pt idx="757" formatCode="General">
                  <c:v>31.81</c:v>
                </c:pt>
                <c:pt idx="758" formatCode="General">
                  <c:v>31.99</c:v>
                </c:pt>
                <c:pt idx="759" formatCode="General">
                  <c:v>29.84</c:v>
                </c:pt>
                <c:pt idx="760" formatCode="General">
                  <c:v>30.31</c:v>
                </c:pt>
                <c:pt idx="761" formatCode="General">
                  <c:v>29.78</c:v>
                </c:pt>
                <c:pt idx="762" formatCode="General">
                  <c:v>31.17</c:v>
                </c:pt>
                <c:pt idx="763" formatCode="General">
                  <c:v>31.79</c:v>
                </c:pt>
                <c:pt idx="764" formatCode="General">
                  <c:v>32.159999999999997</c:v>
                </c:pt>
                <c:pt idx="765" formatCode="General">
                  <c:v>32.29</c:v>
                </c:pt>
                <c:pt idx="766" formatCode="General">
                  <c:v>31.81</c:v>
                </c:pt>
                <c:pt idx="767" formatCode="General">
                  <c:v>33.65</c:v>
                </c:pt>
                <c:pt idx="768" formatCode="General">
                  <c:v>32.6</c:v>
                </c:pt>
                <c:pt idx="769" formatCode="General">
                  <c:v>34.71</c:v>
                </c:pt>
                <c:pt idx="770" formatCode="General">
                  <c:v>32.82</c:v>
                </c:pt>
                <c:pt idx="771" formatCode="General">
                  <c:v>32.71</c:v>
                </c:pt>
                <c:pt idx="773" formatCode="General">
                  <c:v>34.22</c:v>
                </c:pt>
                <c:pt idx="774" formatCode="General">
                  <c:v>36.700000000000003</c:v>
                </c:pt>
                <c:pt idx="775" formatCode="General">
                  <c:v>35.909999999999997</c:v>
                </c:pt>
                <c:pt idx="776" formatCode="General">
                  <c:v>37.9</c:v>
                </c:pt>
                <c:pt idx="777" formatCode="General">
                  <c:v>36.57</c:v>
                </c:pt>
                <c:pt idx="778" formatCode="General">
                  <c:v>36.409999999999997</c:v>
                </c:pt>
                <c:pt idx="779" formatCode="General">
                  <c:v>38.409999999999997</c:v>
                </c:pt>
                <c:pt idx="780" formatCode="General">
                  <c:v>37.57</c:v>
                </c:pt>
                <c:pt idx="781" formatCode="General">
                  <c:v>34.35</c:v>
                </c:pt>
                <c:pt idx="782" formatCode="General">
                  <c:v>35</c:v>
                </c:pt>
                <c:pt idx="783" formatCode="General">
                  <c:v>28.24</c:v>
                </c:pt>
                <c:pt idx="784" formatCode="General">
                  <c:v>31.78</c:v>
                </c:pt>
                <c:pt idx="785" formatCode="General">
                  <c:v>33.26</c:v>
                </c:pt>
                <c:pt idx="786" formatCode="General">
                  <c:v>35.29</c:v>
                </c:pt>
                <c:pt idx="787" formatCode="General">
                  <c:v>33.29</c:v>
                </c:pt>
                <c:pt idx="788" formatCode="General">
                  <c:v>31.44</c:v>
                </c:pt>
                <c:pt idx="789" formatCode="General">
                  <c:v>34</c:v>
                </c:pt>
                <c:pt idx="790" formatCode="General">
                  <c:v>31.06</c:v>
                </c:pt>
                <c:pt idx="791" formatCode="General">
                  <c:v>32.119999999999997</c:v>
                </c:pt>
                <c:pt idx="792" formatCode="General">
                  <c:v>33.840000000000003</c:v>
                </c:pt>
                <c:pt idx="793" formatCode="General">
                  <c:v>33.979999999999997</c:v>
                </c:pt>
                <c:pt idx="794" formatCode="General">
                  <c:v>34.5</c:v>
                </c:pt>
                <c:pt idx="795" formatCode="General">
                  <c:v>34.39</c:v>
                </c:pt>
                <c:pt idx="796" formatCode="General">
                  <c:v>36.25</c:v>
                </c:pt>
                <c:pt idx="797" formatCode="General">
                  <c:v>35.31</c:v>
                </c:pt>
                <c:pt idx="798" formatCode="General">
                  <c:v>34.020000000000003</c:v>
                </c:pt>
                <c:pt idx="799" formatCode="General">
                  <c:v>33.83</c:v>
                </c:pt>
                <c:pt idx="800" formatCode="General">
                  <c:v>34.5</c:v>
                </c:pt>
                <c:pt idx="801" formatCode="General">
                  <c:v>34.450000000000003</c:v>
                </c:pt>
              </c:numCache>
            </c:numRef>
          </c:val>
          <c:smooth val="0"/>
          <c:extLst>
            <c:ext xmlns:c16="http://schemas.microsoft.com/office/drawing/2014/chart" uri="{C3380CC4-5D6E-409C-BE32-E72D297353CC}">
              <c16:uniqueId val="{00000000-AC40-4EF0-BE2B-C2D6A769D759}"/>
            </c:ext>
          </c:extLst>
        </c:ser>
        <c:dLbls>
          <c:showLegendKey val="0"/>
          <c:showVal val="0"/>
          <c:showCatName val="0"/>
          <c:showSerName val="0"/>
          <c:showPercent val="0"/>
          <c:showBubbleSize val="0"/>
        </c:dLbls>
        <c:smooth val="0"/>
        <c:axId val="1222322239"/>
        <c:axId val="1"/>
      </c:lineChart>
      <c:catAx>
        <c:axId val="1222322239"/>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2322239"/>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b="1" i="0" u="none" strike="noStrike" baseline="0">
                <a:solidFill>
                  <a:srgbClr val="000000"/>
                </a:solidFill>
                <a:latin typeface="Calibri"/>
                <a:ea typeface="Calibri"/>
                <a:cs typeface="Calibri"/>
              </a:defRPr>
            </a:pPr>
            <a:r>
              <a:rPr lang="en-ZA"/>
              <a:t>Bulls</a:t>
            </a:r>
          </a:p>
        </c:rich>
      </c:tx>
      <c:overlay val="0"/>
    </c:title>
    <c:autoTitleDeleted val="0"/>
    <c:plotArea>
      <c:layout>
        <c:manualLayout>
          <c:layoutTarget val="inner"/>
          <c:xMode val="edge"/>
          <c:yMode val="edge"/>
          <c:x val="8.8456000220680855E-2"/>
          <c:y val="0.1335631379410907"/>
          <c:w val="0.8676779162822631"/>
          <c:h val="0.78677888597258672"/>
        </c:manualLayout>
      </c:layout>
      <c:lineChart>
        <c:grouping val="standard"/>
        <c:varyColors val="0"/>
        <c:ser>
          <c:idx val="6"/>
          <c:order val="0"/>
          <c:tx>
            <c:strRef>
              <c:f>Summary!$G$3</c:f>
              <c:strCache>
                <c:ptCount val="1"/>
                <c:pt idx="0">
                  <c:v>Bulls</c:v>
                </c:pt>
              </c:strCache>
            </c:strRef>
          </c:tx>
          <c:spPr>
            <a:ln w="12700">
              <a:solidFill>
                <a:schemeClr val="tx1"/>
              </a:solidFill>
            </a:ln>
          </c:spPr>
          <c:marker>
            <c:symbol val="none"/>
          </c:marker>
          <c:cat>
            <c:numRef>
              <c:f>Summary!$B$4:$B$808</c:f>
              <c:numCache>
                <c:formatCode>General</c:formatCode>
                <c:ptCount val="805"/>
                <c:pt idx="0">
                  <c:v>2010</c:v>
                </c:pt>
                <c:pt idx="45">
                  <c:v>2011</c:v>
                </c:pt>
                <c:pt idx="93">
                  <c:v>2012</c:v>
                </c:pt>
                <c:pt idx="142">
                  <c:v>2013</c:v>
                </c:pt>
                <c:pt idx="191">
                  <c:v>2014</c:v>
                </c:pt>
                <c:pt idx="240">
                  <c:v>2015</c:v>
                </c:pt>
                <c:pt idx="288">
                  <c:v>2016</c:v>
                </c:pt>
                <c:pt idx="338">
                  <c:v>2017</c:v>
                </c:pt>
                <c:pt idx="388">
                  <c:v>2018</c:v>
                </c:pt>
                <c:pt idx="438">
                  <c:v>2019</c:v>
                </c:pt>
                <c:pt idx="488">
                  <c:v>2020</c:v>
                </c:pt>
                <c:pt idx="536">
                  <c:v>2021</c:v>
                </c:pt>
                <c:pt idx="584">
                  <c:v>2022</c:v>
                </c:pt>
                <c:pt idx="634">
                  <c:v>2023</c:v>
                </c:pt>
                <c:pt idx="684">
                  <c:v>2024</c:v>
                </c:pt>
                <c:pt idx="734">
                  <c:v>2025</c:v>
                </c:pt>
                <c:pt idx="781">
                  <c:v>2026</c:v>
                </c:pt>
              </c:numCache>
            </c:numRef>
          </c:cat>
          <c:val>
            <c:numRef>
              <c:f>Summary!$G$4:$G$810</c:f>
              <c:numCache>
                <c:formatCode>0.00</c:formatCode>
                <c:ptCount val="807"/>
                <c:pt idx="0">
                  <c:v>10.9</c:v>
                </c:pt>
                <c:pt idx="1">
                  <c:v>11.16</c:v>
                </c:pt>
                <c:pt idx="2">
                  <c:v>11.41</c:v>
                </c:pt>
                <c:pt idx="3">
                  <c:v>10.17</c:v>
                </c:pt>
                <c:pt idx="4">
                  <c:v>10.87</c:v>
                </c:pt>
                <c:pt idx="5">
                  <c:v>10.97</c:v>
                </c:pt>
                <c:pt idx="6">
                  <c:v>10.27</c:v>
                </c:pt>
                <c:pt idx="7">
                  <c:v>10.26</c:v>
                </c:pt>
                <c:pt idx="8">
                  <c:v>10.130000000000001</c:v>
                </c:pt>
                <c:pt idx="9">
                  <c:v>10.61</c:v>
                </c:pt>
                <c:pt idx="10">
                  <c:v>10.06</c:v>
                </c:pt>
                <c:pt idx="11">
                  <c:v>10.11</c:v>
                </c:pt>
                <c:pt idx="12">
                  <c:v>10.11</c:v>
                </c:pt>
                <c:pt idx="13">
                  <c:v>9.6300000000000008</c:v>
                </c:pt>
                <c:pt idx="14">
                  <c:v>11.92</c:v>
                </c:pt>
                <c:pt idx="15">
                  <c:v>14.64</c:v>
                </c:pt>
                <c:pt idx="16">
                  <c:v>11.27</c:v>
                </c:pt>
                <c:pt idx="17">
                  <c:v>10.47</c:v>
                </c:pt>
                <c:pt idx="18">
                  <c:v>10.97</c:v>
                </c:pt>
                <c:pt idx="19">
                  <c:v>11.02</c:v>
                </c:pt>
                <c:pt idx="20">
                  <c:v>10.75</c:v>
                </c:pt>
                <c:pt idx="21">
                  <c:v>10.77</c:v>
                </c:pt>
                <c:pt idx="22">
                  <c:v>10.43</c:v>
                </c:pt>
                <c:pt idx="23">
                  <c:v>10.199999999999999</c:v>
                </c:pt>
                <c:pt idx="24">
                  <c:v>10.45</c:v>
                </c:pt>
                <c:pt idx="25">
                  <c:v>10.220000000000001</c:v>
                </c:pt>
                <c:pt idx="26">
                  <c:v>10.09</c:v>
                </c:pt>
                <c:pt idx="27">
                  <c:v>10.5</c:v>
                </c:pt>
                <c:pt idx="28">
                  <c:v>9.9700000000000006</c:v>
                </c:pt>
                <c:pt idx="29">
                  <c:v>9.06</c:v>
                </c:pt>
                <c:pt idx="30">
                  <c:v>11.21</c:v>
                </c:pt>
                <c:pt idx="31">
                  <c:v>11.76</c:v>
                </c:pt>
                <c:pt idx="32">
                  <c:v>10.73</c:v>
                </c:pt>
                <c:pt idx="33">
                  <c:v>10.72</c:v>
                </c:pt>
                <c:pt idx="34">
                  <c:v>11.31</c:v>
                </c:pt>
                <c:pt idx="35">
                  <c:v>11.94</c:v>
                </c:pt>
                <c:pt idx="36">
                  <c:v>10.87</c:v>
                </c:pt>
                <c:pt idx="37">
                  <c:v>10.88</c:v>
                </c:pt>
                <c:pt idx="38">
                  <c:v>10.87</c:v>
                </c:pt>
                <c:pt idx="39">
                  <c:v>11.24</c:v>
                </c:pt>
                <c:pt idx="40">
                  <c:v>12.63</c:v>
                </c:pt>
                <c:pt idx="41">
                  <c:v>12.05</c:v>
                </c:pt>
                <c:pt idx="42">
                  <c:v>11.63</c:v>
                </c:pt>
                <c:pt idx="43">
                  <c:v>11.87</c:v>
                </c:pt>
                <c:pt idx="44">
                  <c:v>11.68</c:v>
                </c:pt>
                <c:pt idx="45">
                  <c:v>11.78</c:v>
                </c:pt>
                <c:pt idx="46">
                  <c:v>11.21</c:v>
                </c:pt>
                <c:pt idx="47">
                  <c:v>11.21</c:v>
                </c:pt>
                <c:pt idx="48">
                  <c:v>13.23</c:v>
                </c:pt>
                <c:pt idx="49">
                  <c:v>12.26</c:v>
                </c:pt>
                <c:pt idx="50">
                  <c:v>12.1</c:v>
                </c:pt>
                <c:pt idx="51">
                  <c:v>12.41</c:v>
                </c:pt>
                <c:pt idx="52">
                  <c:v>11.69</c:v>
                </c:pt>
                <c:pt idx="53">
                  <c:v>11.52</c:v>
                </c:pt>
                <c:pt idx="54">
                  <c:v>11.38</c:v>
                </c:pt>
                <c:pt idx="55">
                  <c:v>11.28</c:v>
                </c:pt>
                <c:pt idx="56">
                  <c:v>11.2</c:v>
                </c:pt>
                <c:pt idx="57">
                  <c:v>11.53</c:v>
                </c:pt>
                <c:pt idx="58">
                  <c:v>11.84</c:v>
                </c:pt>
                <c:pt idx="59">
                  <c:v>11.99</c:v>
                </c:pt>
                <c:pt idx="60">
                  <c:v>12.21</c:v>
                </c:pt>
                <c:pt idx="61">
                  <c:v>12.18</c:v>
                </c:pt>
                <c:pt idx="62">
                  <c:v>12.28</c:v>
                </c:pt>
                <c:pt idx="63">
                  <c:v>12.04</c:v>
                </c:pt>
                <c:pt idx="64">
                  <c:v>12.71</c:v>
                </c:pt>
                <c:pt idx="65">
                  <c:v>12.27</c:v>
                </c:pt>
                <c:pt idx="66">
                  <c:v>12.82</c:v>
                </c:pt>
                <c:pt idx="67">
                  <c:v>12.53</c:v>
                </c:pt>
                <c:pt idx="68">
                  <c:v>13.08</c:v>
                </c:pt>
                <c:pt idx="69">
                  <c:v>12.79</c:v>
                </c:pt>
                <c:pt idx="70">
                  <c:v>13.9</c:v>
                </c:pt>
                <c:pt idx="71">
                  <c:v>12.97</c:v>
                </c:pt>
                <c:pt idx="72">
                  <c:v>13.19</c:v>
                </c:pt>
                <c:pt idx="73">
                  <c:v>14.47</c:v>
                </c:pt>
                <c:pt idx="74">
                  <c:v>13.89</c:v>
                </c:pt>
                <c:pt idx="75">
                  <c:v>15.59</c:v>
                </c:pt>
                <c:pt idx="76">
                  <c:v>15.59</c:v>
                </c:pt>
                <c:pt idx="77">
                  <c:v>13.57</c:v>
                </c:pt>
                <c:pt idx="78">
                  <c:v>14.06</c:v>
                </c:pt>
                <c:pt idx="79">
                  <c:v>14.11</c:v>
                </c:pt>
                <c:pt idx="80">
                  <c:v>14.84</c:v>
                </c:pt>
                <c:pt idx="81">
                  <c:v>13.86</c:v>
                </c:pt>
                <c:pt idx="82">
                  <c:v>14.02</c:v>
                </c:pt>
                <c:pt idx="83">
                  <c:v>14.76</c:v>
                </c:pt>
                <c:pt idx="84">
                  <c:v>16.559999999999999</c:v>
                </c:pt>
                <c:pt idx="85">
                  <c:v>15.04</c:v>
                </c:pt>
                <c:pt idx="86">
                  <c:v>16.07</c:v>
                </c:pt>
                <c:pt idx="87">
                  <c:v>17.2</c:v>
                </c:pt>
                <c:pt idx="88">
                  <c:v>16.21</c:v>
                </c:pt>
                <c:pt idx="89">
                  <c:v>15.77</c:v>
                </c:pt>
                <c:pt idx="90">
                  <c:v>15.06</c:v>
                </c:pt>
                <c:pt idx="91">
                  <c:v>15.72</c:v>
                </c:pt>
                <c:pt idx="92">
                  <c:v>14.49</c:v>
                </c:pt>
                <c:pt idx="93">
                  <c:v>14.71</c:v>
                </c:pt>
                <c:pt idx="94">
                  <c:v>14.27</c:v>
                </c:pt>
                <c:pt idx="95">
                  <c:v>13.62</c:v>
                </c:pt>
                <c:pt idx="96">
                  <c:v>13.74</c:v>
                </c:pt>
                <c:pt idx="97">
                  <c:v>13.8</c:v>
                </c:pt>
                <c:pt idx="98">
                  <c:v>12.5</c:v>
                </c:pt>
                <c:pt idx="99">
                  <c:v>13.18</c:v>
                </c:pt>
                <c:pt idx="100">
                  <c:v>12.11</c:v>
                </c:pt>
                <c:pt idx="101">
                  <c:v>11.79</c:v>
                </c:pt>
                <c:pt idx="102">
                  <c:v>12.01</c:v>
                </c:pt>
                <c:pt idx="103">
                  <c:v>11.26</c:v>
                </c:pt>
                <c:pt idx="104">
                  <c:v>11.27</c:v>
                </c:pt>
                <c:pt idx="105" formatCode="General">
                  <c:v>11.28</c:v>
                </c:pt>
                <c:pt idx="106" formatCode="General">
                  <c:v>11.4</c:v>
                </c:pt>
                <c:pt idx="107" formatCode="General">
                  <c:v>12.22</c:v>
                </c:pt>
                <c:pt idx="108" formatCode="General">
                  <c:v>11.56</c:v>
                </c:pt>
                <c:pt idx="109" formatCode="General">
                  <c:v>12.89</c:v>
                </c:pt>
                <c:pt idx="110" formatCode="General">
                  <c:v>11.39</c:v>
                </c:pt>
                <c:pt idx="111" formatCode="General">
                  <c:v>12.48</c:v>
                </c:pt>
                <c:pt idx="112" formatCode="General">
                  <c:v>10.69</c:v>
                </c:pt>
                <c:pt idx="113" formatCode="General">
                  <c:v>12.37</c:v>
                </c:pt>
                <c:pt idx="114" formatCode="General">
                  <c:v>8.52</c:v>
                </c:pt>
                <c:pt idx="115" formatCode="General">
                  <c:v>11.79</c:v>
                </c:pt>
                <c:pt idx="116" formatCode="General">
                  <c:v>11.97</c:v>
                </c:pt>
                <c:pt idx="117" formatCode="General">
                  <c:v>11.69</c:v>
                </c:pt>
                <c:pt idx="118" formatCode="General">
                  <c:v>11.7</c:v>
                </c:pt>
                <c:pt idx="119" formatCode="General">
                  <c:v>11.56</c:v>
                </c:pt>
                <c:pt idx="120" formatCode="General">
                  <c:v>12.68</c:v>
                </c:pt>
                <c:pt idx="121" formatCode="General">
                  <c:v>12.3</c:v>
                </c:pt>
                <c:pt idx="122" formatCode="General">
                  <c:v>12.19</c:v>
                </c:pt>
                <c:pt idx="123" formatCode="General">
                  <c:v>12.32</c:v>
                </c:pt>
                <c:pt idx="124" formatCode="General">
                  <c:v>12.45</c:v>
                </c:pt>
                <c:pt idx="125" formatCode="General">
                  <c:v>14.25</c:v>
                </c:pt>
                <c:pt idx="126" formatCode="General">
                  <c:v>12.73</c:v>
                </c:pt>
                <c:pt idx="127" formatCode="General">
                  <c:v>12.93</c:v>
                </c:pt>
                <c:pt idx="128" formatCode="General">
                  <c:v>13.6</c:v>
                </c:pt>
                <c:pt idx="129" formatCode="General">
                  <c:v>14.92</c:v>
                </c:pt>
                <c:pt idx="130" formatCode="General">
                  <c:v>14.4</c:v>
                </c:pt>
                <c:pt idx="131" formatCode="General">
                  <c:v>14.98</c:v>
                </c:pt>
                <c:pt idx="132" formatCode="General">
                  <c:v>12.98</c:v>
                </c:pt>
                <c:pt idx="133">
                  <c:v>14.26</c:v>
                </c:pt>
                <c:pt idx="134">
                  <c:v>16.82</c:v>
                </c:pt>
                <c:pt idx="135">
                  <c:v>14.44</c:v>
                </c:pt>
                <c:pt idx="136">
                  <c:v>15.41</c:v>
                </c:pt>
                <c:pt idx="137">
                  <c:v>14.83</c:v>
                </c:pt>
                <c:pt idx="138">
                  <c:v>15.84</c:v>
                </c:pt>
                <c:pt idx="139">
                  <c:v>14.73</c:v>
                </c:pt>
                <c:pt idx="140">
                  <c:v>14.87</c:v>
                </c:pt>
                <c:pt idx="141">
                  <c:v>13.01</c:v>
                </c:pt>
                <c:pt idx="142">
                  <c:v>13.47</c:v>
                </c:pt>
                <c:pt idx="143">
                  <c:v>13.07</c:v>
                </c:pt>
                <c:pt idx="144">
                  <c:v>12.07</c:v>
                </c:pt>
                <c:pt idx="145">
                  <c:v>12.05</c:v>
                </c:pt>
                <c:pt idx="146">
                  <c:v>11.86</c:v>
                </c:pt>
                <c:pt idx="147">
                  <c:v>11.99</c:v>
                </c:pt>
                <c:pt idx="148">
                  <c:v>11.18</c:v>
                </c:pt>
                <c:pt idx="149">
                  <c:v>11.08</c:v>
                </c:pt>
                <c:pt idx="150">
                  <c:v>10.73</c:v>
                </c:pt>
                <c:pt idx="151">
                  <c:v>10.84</c:v>
                </c:pt>
                <c:pt idx="152">
                  <c:v>10.63</c:v>
                </c:pt>
                <c:pt idx="153">
                  <c:v>11.95</c:v>
                </c:pt>
                <c:pt idx="154">
                  <c:v>10.57</c:v>
                </c:pt>
                <c:pt idx="155">
                  <c:v>11.49</c:v>
                </c:pt>
                <c:pt idx="156">
                  <c:v>11.93</c:v>
                </c:pt>
                <c:pt idx="157">
                  <c:v>12.36</c:v>
                </c:pt>
                <c:pt idx="158">
                  <c:v>12.26</c:v>
                </c:pt>
                <c:pt idx="159">
                  <c:v>12.54</c:v>
                </c:pt>
                <c:pt idx="160">
                  <c:v>12.17</c:v>
                </c:pt>
                <c:pt idx="161">
                  <c:v>11.37</c:v>
                </c:pt>
                <c:pt idx="162">
                  <c:v>12.03</c:v>
                </c:pt>
                <c:pt idx="163" formatCode="General">
                  <c:v>11.25</c:v>
                </c:pt>
                <c:pt idx="164" formatCode="General">
                  <c:v>11.41</c:v>
                </c:pt>
                <c:pt idx="165">
                  <c:v>11.54</c:v>
                </c:pt>
                <c:pt idx="166">
                  <c:v>11.72</c:v>
                </c:pt>
                <c:pt idx="167">
                  <c:v>11.61</c:v>
                </c:pt>
                <c:pt idx="168">
                  <c:v>12.16</c:v>
                </c:pt>
                <c:pt idx="169">
                  <c:v>14.17</c:v>
                </c:pt>
                <c:pt idx="170">
                  <c:v>12.61</c:v>
                </c:pt>
                <c:pt idx="171">
                  <c:v>12.21</c:v>
                </c:pt>
                <c:pt idx="172">
                  <c:v>12.24</c:v>
                </c:pt>
                <c:pt idx="173">
                  <c:v>12.43</c:v>
                </c:pt>
                <c:pt idx="174">
                  <c:v>12.63</c:v>
                </c:pt>
                <c:pt idx="175">
                  <c:v>12.77</c:v>
                </c:pt>
                <c:pt idx="176">
                  <c:v>12.46</c:v>
                </c:pt>
                <c:pt idx="177">
                  <c:v>14.35</c:v>
                </c:pt>
                <c:pt idx="178">
                  <c:v>12.45</c:v>
                </c:pt>
                <c:pt idx="179">
                  <c:v>13.18</c:v>
                </c:pt>
                <c:pt idx="180">
                  <c:v>14.25</c:v>
                </c:pt>
                <c:pt idx="181">
                  <c:v>11.37</c:v>
                </c:pt>
                <c:pt idx="182">
                  <c:v>12.64</c:v>
                </c:pt>
                <c:pt idx="183">
                  <c:v>13.6</c:v>
                </c:pt>
                <c:pt idx="184">
                  <c:v>14.3</c:v>
                </c:pt>
                <c:pt idx="185">
                  <c:v>15.6</c:v>
                </c:pt>
                <c:pt idx="186">
                  <c:v>13.67</c:v>
                </c:pt>
                <c:pt idx="187">
                  <c:v>13.53</c:v>
                </c:pt>
                <c:pt idx="188">
                  <c:v>13.95</c:v>
                </c:pt>
                <c:pt idx="189">
                  <c:v>13.67</c:v>
                </c:pt>
                <c:pt idx="190">
                  <c:v>13.28</c:v>
                </c:pt>
                <c:pt idx="191">
                  <c:v>12.54</c:v>
                </c:pt>
                <c:pt idx="192" formatCode="#,##0.00">
                  <c:v>12.8</c:v>
                </c:pt>
                <c:pt idx="193" formatCode="#,##0.00">
                  <c:v>12.62</c:v>
                </c:pt>
                <c:pt idx="194" formatCode="#,##0.00">
                  <c:v>12.52</c:v>
                </c:pt>
                <c:pt idx="195" formatCode="#,##0.00">
                  <c:v>12.32</c:v>
                </c:pt>
                <c:pt idx="196" formatCode="#,##0.00">
                  <c:v>12.67</c:v>
                </c:pt>
                <c:pt idx="197" formatCode="#,##0.00">
                  <c:v>11.89</c:v>
                </c:pt>
                <c:pt idx="198" formatCode="#,##0.00">
                  <c:v>11.81</c:v>
                </c:pt>
                <c:pt idx="199" formatCode="#,##0.00">
                  <c:v>12.67</c:v>
                </c:pt>
                <c:pt idx="200" formatCode="#,##0.00">
                  <c:v>12.51</c:v>
                </c:pt>
                <c:pt idx="201" formatCode="#,##0.00">
                  <c:v>12.48</c:v>
                </c:pt>
                <c:pt idx="202" formatCode="#,##0.00">
                  <c:v>12.29</c:v>
                </c:pt>
                <c:pt idx="203" formatCode="#,##0.00">
                  <c:v>12.74</c:v>
                </c:pt>
                <c:pt idx="204" formatCode="#,##0.00">
                  <c:v>12.3</c:v>
                </c:pt>
                <c:pt idx="205" formatCode="#,##0.00">
                  <c:v>12.38</c:v>
                </c:pt>
                <c:pt idx="206" formatCode="#,##0.00">
                  <c:v>12.19</c:v>
                </c:pt>
                <c:pt idx="207" formatCode="#,##0.00">
                  <c:v>12.11</c:v>
                </c:pt>
                <c:pt idx="208" formatCode="#,##0.00">
                  <c:v>11.7</c:v>
                </c:pt>
                <c:pt idx="209" formatCode="#,##0.00">
                  <c:v>12.47</c:v>
                </c:pt>
                <c:pt idx="210" formatCode="#,##0.00">
                  <c:v>12.15</c:v>
                </c:pt>
                <c:pt idx="211" formatCode="#,##0.00">
                  <c:v>12.71</c:v>
                </c:pt>
                <c:pt idx="212" formatCode="#,##0.00">
                  <c:v>12.39</c:v>
                </c:pt>
                <c:pt idx="213" formatCode="#,##0.00">
                  <c:v>13.04</c:v>
                </c:pt>
                <c:pt idx="214" formatCode="#,##0.00">
                  <c:v>13.16</c:v>
                </c:pt>
                <c:pt idx="215" formatCode="#,##0.00">
                  <c:v>13.98</c:v>
                </c:pt>
                <c:pt idx="216" formatCode="#,##0.00">
                  <c:v>13.8</c:v>
                </c:pt>
                <c:pt idx="217" formatCode="#,##0.00">
                  <c:v>15.03</c:v>
                </c:pt>
                <c:pt idx="218" formatCode="#,##0.00">
                  <c:v>14.48</c:v>
                </c:pt>
                <c:pt idx="219" formatCode="#,##0.00">
                  <c:v>14.47</c:v>
                </c:pt>
                <c:pt idx="220" formatCode="#,##0.00">
                  <c:v>15.16</c:v>
                </c:pt>
                <c:pt idx="221" formatCode="#,##0.00">
                  <c:v>14.83</c:v>
                </c:pt>
                <c:pt idx="222" formatCode="#,##0.00">
                  <c:v>14.51</c:v>
                </c:pt>
                <c:pt idx="223" formatCode="#,##0.00">
                  <c:v>16.170000000000002</c:v>
                </c:pt>
                <c:pt idx="224" formatCode="#,##0.00">
                  <c:v>13.87</c:v>
                </c:pt>
                <c:pt idx="225" formatCode="#,##0.00">
                  <c:v>14.48</c:v>
                </c:pt>
                <c:pt idx="226" formatCode="#,##0.00">
                  <c:v>10.23</c:v>
                </c:pt>
                <c:pt idx="227" formatCode="#,##0.00">
                  <c:v>15.31</c:v>
                </c:pt>
                <c:pt idx="228" formatCode="#,##0.00">
                  <c:v>15</c:v>
                </c:pt>
                <c:pt idx="229" formatCode="#,##0.00">
                  <c:v>14.09</c:v>
                </c:pt>
                <c:pt idx="230" formatCode="#,##0.00">
                  <c:v>14.56</c:v>
                </c:pt>
                <c:pt idx="231" formatCode="#,##0.00">
                  <c:v>14.92</c:v>
                </c:pt>
                <c:pt idx="232" formatCode="#,##0.00">
                  <c:v>15.41</c:v>
                </c:pt>
                <c:pt idx="233" formatCode="#,##0.00">
                  <c:v>16.03</c:v>
                </c:pt>
                <c:pt idx="234" formatCode="#,##0.00">
                  <c:v>15.59</c:v>
                </c:pt>
                <c:pt idx="235" formatCode="#,##0.00">
                  <c:v>14.81</c:v>
                </c:pt>
                <c:pt idx="236" formatCode="#,##0.00">
                  <c:v>16.059999999999999</c:v>
                </c:pt>
                <c:pt idx="237" formatCode="#,##0.00">
                  <c:v>15.42</c:v>
                </c:pt>
                <c:pt idx="238" formatCode="#,##0.00">
                  <c:v>14.87</c:v>
                </c:pt>
                <c:pt idx="239" formatCode="#,##0.00">
                  <c:v>15.24</c:v>
                </c:pt>
                <c:pt idx="240" formatCode="#,##0.00">
                  <c:v>15.18</c:v>
                </c:pt>
                <c:pt idx="241" formatCode="#,##0.00">
                  <c:v>14.94</c:v>
                </c:pt>
                <c:pt idx="242" formatCode="#,##0.00">
                  <c:v>15.04</c:v>
                </c:pt>
                <c:pt idx="243" formatCode="#,##0.00">
                  <c:v>14.58</c:v>
                </c:pt>
                <c:pt idx="244" formatCode="#,##0.00">
                  <c:v>14.58</c:v>
                </c:pt>
                <c:pt idx="245" formatCode="#,##0.00">
                  <c:v>13.52</c:v>
                </c:pt>
                <c:pt idx="246" formatCode="#,##0.00">
                  <c:v>12.72</c:v>
                </c:pt>
                <c:pt idx="247" formatCode="#,##0.00">
                  <c:v>12.47</c:v>
                </c:pt>
                <c:pt idx="248" formatCode="#,##0.00">
                  <c:v>12.93</c:v>
                </c:pt>
                <c:pt idx="249" formatCode="#,##0.00">
                  <c:v>12.6</c:v>
                </c:pt>
                <c:pt idx="250" formatCode="#,##0.00">
                  <c:v>13.51</c:v>
                </c:pt>
                <c:pt idx="251" formatCode="#,##0.00">
                  <c:v>13.03</c:v>
                </c:pt>
                <c:pt idx="252" formatCode="#,##0.00">
                  <c:v>12.93</c:v>
                </c:pt>
                <c:pt idx="253" formatCode="#,##0.00">
                  <c:v>12.86</c:v>
                </c:pt>
                <c:pt idx="254" formatCode="#,##0.00">
                  <c:v>13.75</c:v>
                </c:pt>
                <c:pt idx="255" formatCode="#,##0.00">
                  <c:v>14.08</c:v>
                </c:pt>
                <c:pt idx="256" formatCode="#,##0.00">
                  <c:v>13.2</c:v>
                </c:pt>
                <c:pt idx="257" formatCode="#,##0.00">
                  <c:v>14.66</c:v>
                </c:pt>
                <c:pt idx="258" formatCode="#,##0.00">
                  <c:v>13.89</c:v>
                </c:pt>
                <c:pt idx="259" formatCode="#,##0.00">
                  <c:v>13.81</c:v>
                </c:pt>
                <c:pt idx="260" formatCode="#,##0.00">
                  <c:v>14.44</c:v>
                </c:pt>
                <c:pt idx="261" formatCode="#,##0.00">
                  <c:v>13.41</c:v>
                </c:pt>
                <c:pt idx="262" formatCode="#,##0.00">
                  <c:v>13.8</c:v>
                </c:pt>
                <c:pt idx="263" formatCode="#,##0.00">
                  <c:v>13.53</c:v>
                </c:pt>
                <c:pt idx="264" formatCode="#,##0.00">
                  <c:v>13.84</c:v>
                </c:pt>
                <c:pt idx="265" formatCode="#,##0.00">
                  <c:v>13.87</c:v>
                </c:pt>
                <c:pt idx="266" formatCode="#,##0.00">
                  <c:v>14.49</c:v>
                </c:pt>
                <c:pt idx="267" formatCode="#,##0.00">
                  <c:v>13.39</c:v>
                </c:pt>
                <c:pt idx="268" formatCode="#,##0.00">
                  <c:v>13.48</c:v>
                </c:pt>
                <c:pt idx="269" formatCode="#,##0.00">
                  <c:v>14.48</c:v>
                </c:pt>
                <c:pt idx="270" formatCode="#,##0.00">
                  <c:v>14.83</c:v>
                </c:pt>
                <c:pt idx="271" formatCode="#,##0.00">
                  <c:v>15.23</c:v>
                </c:pt>
                <c:pt idx="272" formatCode="#,##0.00">
                  <c:v>15.29</c:v>
                </c:pt>
                <c:pt idx="273" formatCode="#,##0.00">
                  <c:v>14.3</c:v>
                </c:pt>
                <c:pt idx="274" formatCode="#,##0.00">
                  <c:v>14.36</c:v>
                </c:pt>
                <c:pt idx="275" formatCode="#,##0.00">
                  <c:v>15.23</c:v>
                </c:pt>
                <c:pt idx="276" formatCode="#,##0.00">
                  <c:v>14.57</c:v>
                </c:pt>
                <c:pt idx="277" formatCode="#,##0.00">
                  <c:v>15.46</c:v>
                </c:pt>
                <c:pt idx="278" formatCode="#,##0.00">
                  <c:v>14.7</c:v>
                </c:pt>
                <c:pt idx="279" formatCode="#,##0.00">
                  <c:v>15.65</c:v>
                </c:pt>
                <c:pt idx="280" formatCode="#,##0.00">
                  <c:v>15.94</c:v>
                </c:pt>
                <c:pt idx="281" formatCode="#,##0.00">
                  <c:v>14.68</c:v>
                </c:pt>
                <c:pt idx="282" formatCode="#,##0.00">
                  <c:v>15.45</c:v>
                </c:pt>
                <c:pt idx="283" formatCode="#,##0.00">
                  <c:v>15.8</c:v>
                </c:pt>
                <c:pt idx="284" formatCode="#,##0.00">
                  <c:v>14.67</c:v>
                </c:pt>
                <c:pt idx="285" formatCode="#,##0.00">
                  <c:v>14.92</c:v>
                </c:pt>
                <c:pt idx="286" formatCode="#,##0.00">
                  <c:v>16.329999999999998</c:v>
                </c:pt>
                <c:pt idx="287" formatCode="#,##0.00">
                  <c:v>15.65</c:v>
                </c:pt>
                <c:pt idx="288" formatCode="#,##0.00">
                  <c:v>14.53</c:v>
                </c:pt>
                <c:pt idx="289" formatCode="#,##0.00">
                  <c:v>14.41</c:v>
                </c:pt>
                <c:pt idx="290" formatCode="#,##0.00">
                  <c:v>13.54</c:v>
                </c:pt>
                <c:pt idx="291" formatCode="#,##0.00">
                  <c:v>15.01</c:v>
                </c:pt>
                <c:pt idx="292" formatCode="#,##0.00">
                  <c:v>14.1</c:v>
                </c:pt>
                <c:pt idx="293" formatCode="#,##0.00">
                  <c:v>14.96</c:v>
                </c:pt>
                <c:pt idx="294" formatCode="#,##0.00">
                  <c:v>13.93</c:v>
                </c:pt>
                <c:pt idx="295" formatCode="#,##0.00">
                  <c:v>14.8</c:v>
                </c:pt>
                <c:pt idx="296" formatCode="#,##0.00">
                  <c:v>14.59</c:v>
                </c:pt>
                <c:pt idx="297" formatCode="#,##0.00">
                  <c:v>15.15</c:v>
                </c:pt>
                <c:pt idx="298" formatCode="#,##0.00">
                  <c:v>13.99</c:v>
                </c:pt>
                <c:pt idx="299" formatCode="#,##0.00">
                  <c:v>14.13</c:v>
                </c:pt>
                <c:pt idx="300" formatCode="#,##0.00">
                  <c:v>14.49</c:v>
                </c:pt>
                <c:pt idx="301" formatCode="#,##0.00">
                  <c:v>14.79</c:v>
                </c:pt>
                <c:pt idx="302" formatCode="#,##0.00">
                  <c:v>14.22</c:v>
                </c:pt>
                <c:pt idx="303" formatCode="#,##0.00">
                  <c:v>13.07</c:v>
                </c:pt>
                <c:pt idx="304" formatCode="#,##0.00">
                  <c:v>13.66</c:v>
                </c:pt>
                <c:pt idx="305" formatCode="#,##0.00">
                  <c:v>14.59</c:v>
                </c:pt>
                <c:pt idx="306" formatCode="#,##0.00">
                  <c:v>14.01</c:v>
                </c:pt>
                <c:pt idx="307" formatCode="#,##0.00">
                  <c:v>14.48</c:v>
                </c:pt>
                <c:pt idx="308" formatCode="#,##0.00">
                  <c:v>15.32</c:v>
                </c:pt>
                <c:pt idx="309" formatCode="#,##0.00">
                  <c:v>14.56</c:v>
                </c:pt>
                <c:pt idx="310" formatCode="#,##0.00">
                  <c:v>14.79</c:v>
                </c:pt>
                <c:pt idx="311" formatCode="#,##0.00">
                  <c:v>13.89</c:v>
                </c:pt>
                <c:pt idx="312" formatCode="#,##0.00">
                  <c:v>13.98</c:v>
                </c:pt>
                <c:pt idx="313" formatCode="#,##0.00">
                  <c:v>15.23</c:v>
                </c:pt>
                <c:pt idx="314" formatCode="#,##0.00">
                  <c:v>15.66</c:v>
                </c:pt>
                <c:pt idx="315" formatCode="#,##0.00">
                  <c:v>15.81</c:v>
                </c:pt>
                <c:pt idx="316" formatCode="#,##0.00">
                  <c:v>15.48</c:v>
                </c:pt>
                <c:pt idx="317" formatCode="#,##0.00">
                  <c:v>14.82</c:v>
                </c:pt>
                <c:pt idx="318" formatCode="#,##0.00">
                  <c:v>16.079999999999998</c:v>
                </c:pt>
                <c:pt idx="319" formatCode="#,##0.00">
                  <c:v>16.829999999999998</c:v>
                </c:pt>
                <c:pt idx="320" formatCode="#,##0.00">
                  <c:v>16.350000000000001</c:v>
                </c:pt>
                <c:pt idx="321" formatCode="#,##0.00">
                  <c:v>16.82</c:v>
                </c:pt>
                <c:pt idx="322" formatCode="#,##0.00">
                  <c:v>16.75</c:v>
                </c:pt>
                <c:pt idx="323" formatCode="#,##0.00">
                  <c:v>15.96</c:v>
                </c:pt>
                <c:pt idx="324" formatCode="#,##0.00">
                  <c:v>17.45</c:v>
                </c:pt>
                <c:pt idx="325" formatCode="#,##0.00">
                  <c:v>17.010000000000002</c:v>
                </c:pt>
                <c:pt idx="326" formatCode="#,##0.00">
                  <c:v>17.25</c:v>
                </c:pt>
                <c:pt idx="327" formatCode="#,##0.00">
                  <c:v>17.329999999999998</c:v>
                </c:pt>
                <c:pt idx="328" formatCode="#,##0.00">
                  <c:v>17.47</c:v>
                </c:pt>
                <c:pt idx="329" formatCode="#,##0.00">
                  <c:v>16.079999999999998</c:v>
                </c:pt>
                <c:pt idx="330" formatCode="#,##0.00">
                  <c:v>17.53</c:v>
                </c:pt>
                <c:pt idx="331" formatCode="#,##0.00">
                  <c:v>16.86</c:v>
                </c:pt>
                <c:pt idx="332" formatCode="#,##0.00">
                  <c:v>18.350000000000001</c:v>
                </c:pt>
                <c:pt idx="333" formatCode="#,##0.00">
                  <c:v>16.649999999999999</c:v>
                </c:pt>
                <c:pt idx="334" formatCode="#,##0.00">
                  <c:v>18.809999999999999</c:v>
                </c:pt>
                <c:pt idx="335" formatCode="#,##0.00">
                  <c:v>17.88</c:v>
                </c:pt>
                <c:pt idx="336" formatCode="#,##0.00">
                  <c:v>18.32</c:v>
                </c:pt>
                <c:pt idx="337" formatCode="#,##0.00">
                  <c:v>18.62</c:v>
                </c:pt>
                <c:pt idx="338" formatCode="#,##0.00">
                  <c:v>17.28</c:v>
                </c:pt>
                <c:pt idx="339" formatCode="#,##0.00">
                  <c:v>16.43</c:v>
                </c:pt>
                <c:pt idx="340" formatCode="#,##0.00">
                  <c:v>15.55</c:v>
                </c:pt>
                <c:pt idx="341" formatCode="#,##0.00">
                  <c:v>18.420000000000002</c:v>
                </c:pt>
                <c:pt idx="342" formatCode="#,##0.00">
                  <c:v>17.489999999999998</c:v>
                </c:pt>
                <c:pt idx="343" formatCode="#,##0.00">
                  <c:v>18.22</c:v>
                </c:pt>
                <c:pt idx="344" formatCode="#,##0.00">
                  <c:v>17.760000000000002</c:v>
                </c:pt>
                <c:pt idx="345" formatCode="#,##0.00">
                  <c:v>16.84</c:v>
                </c:pt>
                <c:pt idx="346" formatCode="#,##0.00">
                  <c:v>18.239999999999998</c:v>
                </c:pt>
                <c:pt idx="347" formatCode="#,##0.00">
                  <c:v>18.11</c:v>
                </c:pt>
                <c:pt idx="348" formatCode="#,##0.00">
                  <c:v>17.93</c:v>
                </c:pt>
                <c:pt idx="349" formatCode="#,##0.00">
                  <c:v>18</c:v>
                </c:pt>
                <c:pt idx="350" formatCode="#,##0.00">
                  <c:v>18.62</c:v>
                </c:pt>
                <c:pt idx="351" formatCode="#,##0.00">
                  <c:v>18.43</c:v>
                </c:pt>
                <c:pt idx="352" formatCode="#,##0.00">
                  <c:v>19.41</c:v>
                </c:pt>
                <c:pt idx="353" formatCode="#,##0.00">
                  <c:v>18.5</c:v>
                </c:pt>
                <c:pt idx="354" formatCode="#,##0.00">
                  <c:v>19.45</c:v>
                </c:pt>
                <c:pt idx="355" formatCode="#,##0.00">
                  <c:v>19.93</c:v>
                </c:pt>
                <c:pt idx="356" formatCode="#,##0.00">
                  <c:v>19.37</c:v>
                </c:pt>
                <c:pt idx="357" formatCode="#,##0.00">
                  <c:v>18.29</c:v>
                </c:pt>
                <c:pt idx="358" formatCode="#,##0.00">
                  <c:v>19.41</c:v>
                </c:pt>
                <c:pt idx="359" formatCode="#,##0.00">
                  <c:v>20.2</c:v>
                </c:pt>
                <c:pt idx="360" formatCode="#,##0.00">
                  <c:v>16.86</c:v>
                </c:pt>
                <c:pt idx="361" formatCode="#,##0.00">
                  <c:v>20.16</c:v>
                </c:pt>
                <c:pt idx="362" formatCode="#,##0.00">
                  <c:v>21.17</c:v>
                </c:pt>
                <c:pt idx="363" formatCode="#,##0.00">
                  <c:v>21.3</c:v>
                </c:pt>
                <c:pt idx="364" formatCode="#,##0.00">
                  <c:v>20.63</c:v>
                </c:pt>
                <c:pt idx="365" formatCode="#,##0.00">
                  <c:v>22.14</c:v>
                </c:pt>
                <c:pt idx="366" formatCode="#,##0.00">
                  <c:v>21.85</c:v>
                </c:pt>
                <c:pt idx="367" formatCode="#,##0.00">
                  <c:v>21.38</c:v>
                </c:pt>
                <c:pt idx="368" formatCode="#,##0.00">
                  <c:v>22.01</c:v>
                </c:pt>
                <c:pt idx="369" formatCode="#,##0.00">
                  <c:v>22.67</c:v>
                </c:pt>
                <c:pt idx="370" formatCode="#,##0.00">
                  <c:v>21.51</c:v>
                </c:pt>
                <c:pt idx="371" formatCode="#,##0.00">
                  <c:v>22.12</c:v>
                </c:pt>
                <c:pt idx="372" formatCode="#,##0.00">
                  <c:v>21.66</c:v>
                </c:pt>
                <c:pt idx="373" formatCode="#,##0.00">
                  <c:v>21.44</c:v>
                </c:pt>
                <c:pt idx="374" formatCode="#,##0.00">
                  <c:v>22.89</c:v>
                </c:pt>
                <c:pt idx="375" formatCode="#,##0.00">
                  <c:v>22.29</c:v>
                </c:pt>
                <c:pt idx="376" formatCode="#,##0.00">
                  <c:v>21.05</c:v>
                </c:pt>
                <c:pt idx="377" formatCode="#,##0.00">
                  <c:v>20.190000000000001</c:v>
                </c:pt>
                <c:pt idx="378" formatCode="#,##0.00">
                  <c:v>23.37</c:v>
                </c:pt>
                <c:pt idx="379" formatCode="#,##0.00">
                  <c:v>22.14</c:v>
                </c:pt>
                <c:pt idx="380" formatCode="#,##0.00">
                  <c:v>22.61</c:v>
                </c:pt>
                <c:pt idx="381" formatCode="#,##0.00">
                  <c:v>21.75</c:v>
                </c:pt>
                <c:pt idx="382" formatCode="#,##0.00">
                  <c:v>22</c:v>
                </c:pt>
                <c:pt idx="383" formatCode="#,##0.00">
                  <c:v>21.88</c:v>
                </c:pt>
                <c:pt idx="384" formatCode="#,##0.00">
                  <c:v>22.3</c:v>
                </c:pt>
                <c:pt idx="385" formatCode="#,##0.00">
                  <c:v>22.95</c:v>
                </c:pt>
                <c:pt idx="386" formatCode="#,##0.00">
                  <c:v>21.93</c:v>
                </c:pt>
                <c:pt idx="387" formatCode="#,##0.00">
                  <c:v>24.02</c:v>
                </c:pt>
                <c:pt idx="388" formatCode="#,##0.00">
                  <c:v>23.58</c:v>
                </c:pt>
                <c:pt idx="389" formatCode="#,##0.00">
                  <c:v>23.77</c:v>
                </c:pt>
                <c:pt idx="390" formatCode="#,##0.00">
                  <c:v>23.19</c:v>
                </c:pt>
                <c:pt idx="391" formatCode="#,##0.00">
                  <c:v>22.4</c:v>
                </c:pt>
                <c:pt idx="392" formatCode="#,##0.00">
                  <c:v>22.43</c:v>
                </c:pt>
                <c:pt idx="393" formatCode="#,##0.00">
                  <c:v>21.62</c:v>
                </c:pt>
                <c:pt idx="394" formatCode="#,##0.00">
                  <c:v>23.09</c:v>
                </c:pt>
                <c:pt idx="395" formatCode="#,##0.00">
                  <c:v>21.79</c:v>
                </c:pt>
                <c:pt idx="396" formatCode="#,##0.00">
                  <c:v>21.95</c:v>
                </c:pt>
                <c:pt idx="397" formatCode="#,##0.00">
                  <c:v>21.8</c:v>
                </c:pt>
                <c:pt idx="398" formatCode="#,##0.00">
                  <c:v>22.37</c:v>
                </c:pt>
                <c:pt idx="399" formatCode="#,##0.00">
                  <c:v>20.79</c:v>
                </c:pt>
                <c:pt idx="400" formatCode="#,##0.00">
                  <c:v>21.43</c:v>
                </c:pt>
                <c:pt idx="401" formatCode="#,##0.00">
                  <c:v>21.1</c:v>
                </c:pt>
                <c:pt idx="402" formatCode="#,##0.00">
                  <c:v>21.63</c:v>
                </c:pt>
                <c:pt idx="403" formatCode="#,##0.00">
                  <c:v>21.14</c:v>
                </c:pt>
                <c:pt idx="404" formatCode="#,##0.00">
                  <c:v>21.11</c:v>
                </c:pt>
                <c:pt idx="405" formatCode="#,##0.00">
                  <c:v>20.69</c:v>
                </c:pt>
                <c:pt idx="406" formatCode="#,##0.00">
                  <c:v>21.16</c:v>
                </c:pt>
                <c:pt idx="407" formatCode="#,##0.00">
                  <c:v>21.08</c:v>
                </c:pt>
                <c:pt idx="408" formatCode="#,##0.00">
                  <c:v>21.83</c:v>
                </c:pt>
                <c:pt idx="409" formatCode="#,##0.00">
                  <c:v>20.82</c:v>
                </c:pt>
                <c:pt idx="410" formatCode="#,##0.00">
                  <c:v>20.57</c:v>
                </c:pt>
                <c:pt idx="411" formatCode="#,##0.00">
                  <c:v>21.46</c:v>
                </c:pt>
                <c:pt idx="412" formatCode="#,##0.00">
                  <c:v>19.97</c:v>
                </c:pt>
                <c:pt idx="413" formatCode="#,##0.00">
                  <c:v>21.9</c:v>
                </c:pt>
                <c:pt idx="414" formatCode="#,##0.00">
                  <c:v>19.72</c:v>
                </c:pt>
                <c:pt idx="415" formatCode="#,##0.00">
                  <c:v>21.43</c:v>
                </c:pt>
                <c:pt idx="416" formatCode="#,##0.00">
                  <c:v>21.5</c:v>
                </c:pt>
                <c:pt idx="417" formatCode="#,##0.00">
                  <c:v>22.01</c:v>
                </c:pt>
                <c:pt idx="418" formatCode="#,##0.00">
                  <c:v>22.66</c:v>
                </c:pt>
                <c:pt idx="419" formatCode="#,##0.00">
                  <c:v>22.77</c:v>
                </c:pt>
                <c:pt idx="420" formatCode="#,##0.00">
                  <c:v>21.58</c:v>
                </c:pt>
                <c:pt idx="421" formatCode="#,##0.00">
                  <c:v>22.53</c:v>
                </c:pt>
                <c:pt idx="422" formatCode="#,##0.00">
                  <c:v>22.33</c:v>
                </c:pt>
                <c:pt idx="423" formatCode="#,##0.00">
                  <c:v>22.02</c:v>
                </c:pt>
                <c:pt idx="424" formatCode="#,##0.00">
                  <c:v>22.64</c:v>
                </c:pt>
                <c:pt idx="425" formatCode="#,##0.00">
                  <c:v>21.68</c:v>
                </c:pt>
                <c:pt idx="426" formatCode="#,##0.00">
                  <c:v>23.12</c:v>
                </c:pt>
                <c:pt idx="427" formatCode="#,##0.00">
                  <c:v>22.1</c:v>
                </c:pt>
                <c:pt idx="428" formatCode="#,##0.00">
                  <c:v>20.99</c:v>
                </c:pt>
                <c:pt idx="429" formatCode="#,##0.00">
                  <c:v>21.68</c:v>
                </c:pt>
                <c:pt idx="430" formatCode="#,##0.00">
                  <c:v>20.76</c:v>
                </c:pt>
                <c:pt idx="431" formatCode="#,##0.00">
                  <c:v>24.42</c:v>
                </c:pt>
                <c:pt idx="432" formatCode="#,##0.00">
                  <c:v>22.15</c:v>
                </c:pt>
                <c:pt idx="433" formatCode="#,##0.00">
                  <c:v>22.45</c:v>
                </c:pt>
                <c:pt idx="434" formatCode="#,##0.00">
                  <c:v>21.61</c:v>
                </c:pt>
                <c:pt idx="435" formatCode="#,##0.00">
                  <c:v>21.68</c:v>
                </c:pt>
                <c:pt idx="436" formatCode="#,##0.00">
                  <c:v>22.78</c:v>
                </c:pt>
                <c:pt idx="437" formatCode="#,##0.00">
                  <c:v>23.6</c:v>
                </c:pt>
                <c:pt idx="439" formatCode="#,##0.00">
                  <c:v>22.19</c:v>
                </c:pt>
                <c:pt idx="440" formatCode="#,##0.00">
                  <c:v>22.19</c:v>
                </c:pt>
                <c:pt idx="441" formatCode="#,##0.00">
                  <c:v>21.01</c:v>
                </c:pt>
                <c:pt idx="442" formatCode="#,##0.00">
                  <c:v>22.44</c:v>
                </c:pt>
                <c:pt idx="443" formatCode="#,##0.00">
                  <c:v>21.47</c:v>
                </c:pt>
                <c:pt idx="444" formatCode="#,##0.00">
                  <c:v>20.34</c:v>
                </c:pt>
                <c:pt idx="445" formatCode="#,##0.00">
                  <c:v>20.63</c:v>
                </c:pt>
                <c:pt idx="446" formatCode="#,##0.00">
                  <c:v>21.03</c:v>
                </c:pt>
                <c:pt idx="447" formatCode="#,##0.00">
                  <c:v>19.899999999999999</c:v>
                </c:pt>
                <c:pt idx="448" formatCode="#,##0.00">
                  <c:v>21.8</c:v>
                </c:pt>
                <c:pt idx="449" formatCode="#,##0.00">
                  <c:v>18.579999999999998</c:v>
                </c:pt>
                <c:pt idx="450" formatCode="#,##0.00">
                  <c:v>19.96</c:v>
                </c:pt>
                <c:pt idx="451" formatCode="#,##0.00">
                  <c:v>20.43</c:v>
                </c:pt>
                <c:pt idx="452" formatCode="#,##0.00">
                  <c:v>21.33</c:v>
                </c:pt>
                <c:pt idx="453" formatCode="#,##0.00">
                  <c:v>19.940000000000001</c:v>
                </c:pt>
                <c:pt idx="454" formatCode="#,##0.00">
                  <c:v>19</c:v>
                </c:pt>
                <c:pt idx="455" formatCode="#,##0.00">
                  <c:v>21.49</c:v>
                </c:pt>
                <c:pt idx="456" formatCode="#,##0.00">
                  <c:v>18.600000000000001</c:v>
                </c:pt>
                <c:pt idx="457" formatCode="#,##0.00">
                  <c:v>18.95</c:v>
                </c:pt>
                <c:pt idx="458" formatCode="#,##0.00">
                  <c:v>19.41</c:v>
                </c:pt>
                <c:pt idx="459" formatCode="#,##0.00">
                  <c:v>19.05</c:v>
                </c:pt>
                <c:pt idx="460" formatCode="#,##0.00">
                  <c:v>20.98</c:v>
                </c:pt>
                <c:pt idx="461" formatCode="#,##0.00">
                  <c:v>19.22</c:v>
                </c:pt>
                <c:pt idx="462" formatCode="#,##0.00">
                  <c:v>20.36</c:v>
                </c:pt>
                <c:pt idx="463" formatCode="#,##0.00">
                  <c:v>18.53</c:v>
                </c:pt>
                <c:pt idx="464" formatCode="#,##0.00">
                  <c:v>20</c:v>
                </c:pt>
                <c:pt idx="465" formatCode="#,##0.00">
                  <c:v>21.56</c:v>
                </c:pt>
                <c:pt idx="466" formatCode="#,##0.00">
                  <c:v>22.17</c:v>
                </c:pt>
                <c:pt idx="467" formatCode="#,##0.00">
                  <c:v>21.3</c:v>
                </c:pt>
                <c:pt idx="468" formatCode="General">
                  <c:v>20.13</c:v>
                </c:pt>
                <c:pt idx="469" formatCode="General">
                  <c:v>20.52</c:v>
                </c:pt>
                <c:pt idx="470" formatCode="General">
                  <c:v>20.149999999999999</c:v>
                </c:pt>
                <c:pt idx="471" formatCode="General">
                  <c:v>19.63</c:v>
                </c:pt>
                <c:pt idx="472" formatCode="General">
                  <c:v>21.54</c:v>
                </c:pt>
                <c:pt idx="473" formatCode="General">
                  <c:v>19.88</c:v>
                </c:pt>
                <c:pt idx="474" formatCode="General">
                  <c:v>16.510000000000002</c:v>
                </c:pt>
                <c:pt idx="475" formatCode="General">
                  <c:v>21.43</c:v>
                </c:pt>
                <c:pt idx="477" formatCode="General">
                  <c:v>20.38</c:v>
                </c:pt>
                <c:pt idx="478" formatCode="General">
                  <c:v>21.62</c:v>
                </c:pt>
                <c:pt idx="479" formatCode="General">
                  <c:v>23.09</c:v>
                </c:pt>
                <c:pt idx="480" formatCode="General">
                  <c:v>21.5</c:v>
                </c:pt>
                <c:pt idx="481" formatCode="General">
                  <c:v>21.16</c:v>
                </c:pt>
                <c:pt idx="482" formatCode="General">
                  <c:v>22.49</c:v>
                </c:pt>
                <c:pt idx="483" formatCode="General">
                  <c:v>20.48</c:v>
                </c:pt>
                <c:pt idx="495" formatCode="General">
                  <c:v>21.92</c:v>
                </c:pt>
                <c:pt idx="496" formatCode="General">
                  <c:v>21.43</c:v>
                </c:pt>
                <c:pt idx="497" formatCode="General">
                  <c:v>21.44</c:v>
                </c:pt>
                <c:pt idx="498" formatCode="General">
                  <c:v>19.350000000000001</c:v>
                </c:pt>
                <c:pt idx="499" formatCode="General">
                  <c:v>20.63</c:v>
                </c:pt>
                <c:pt idx="500" formatCode="General">
                  <c:v>19.68</c:v>
                </c:pt>
                <c:pt idx="501" formatCode="General">
                  <c:v>19.2</c:v>
                </c:pt>
                <c:pt idx="502" formatCode="General">
                  <c:v>18.5</c:v>
                </c:pt>
                <c:pt idx="503" formatCode="General">
                  <c:v>19.18</c:v>
                </c:pt>
                <c:pt idx="504" formatCode="General">
                  <c:v>18.5</c:v>
                </c:pt>
                <c:pt idx="505" formatCode="General">
                  <c:v>19.37</c:v>
                </c:pt>
                <c:pt idx="506" formatCode="General">
                  <c:v>22.89</c:v>
                </c:pt>
                <c:pt idx="507" formatCode="General">
                  <c:v>19.77</c:v>
                </c:pt>
                <c:pt idx="508" formatCode="General">
                  <c:v>19.53</c:v>
                </c:pt>
                <c:pt idx="509" formatCode="General">
                  <c:v>19.420000000000002</c:v>
                </c:pt>
                <c:pt idx="510" formatCode="General">
                  <c:v>19.350000000000001</c:v>
                </c:pt>
                <c:pt idx="511" formatCode="General">
                  <c:v>19.55</c:v>
                </c:pt>
                <c:pt idx="512" formatCode="General">
                  <c:v>19.73</c:v>
                </c:pt>
                <c:pt idx="513" formatCode="General">
                  <c:v>20.6</c:v>
                </c:pt>
                <c:pt idx="514" formatCode="General">
                  <c:v>21.28</c:v>
                </c:pt>
                <c:pt idx="515" formatCode="General">
                  <c:v>20.260000000000002</c:v>
                </c:pt>
                <c:pt idx="516" formatCode="General">
                  <c:v>21.08</c:v>
                </c:pt>
                <c:pt idx="517" formatCode="General">
                  <c:v>21.69</c:v>
                </c:pt>
                <c:pt idx="518" formatCode="General">
                  <c:v>21.01</c:v>
                </c:pt>
                <c:pt idx="519" formatCode="General">
                  <c:v>21.59</c:v>
                </c:pt>
                <c:pt idx="520" formatCode="General">
                  <c:v>21.47</c:v>
                </c:pt>
                <c:pt idx="521" formatCode="General">
                  <c:v>22.3</c:v>
                </c:pt>
                <c:pt idx="522" formatCode="General">
                  <c:v>22.87</c:v>
                </c:pt>
                <c:pt idx="523" formatCode="General">
                  <c:v>22.97</c:v>
                </c:pt>
                <c:pt idx="524" formatCode="General">
                  <c:v>22.05</c:v>
                </c:pt>
                <c:pt idx="525" formatCode="General">
                  <c:v>20.61</c:v>
                </c:pt>
                <c:pt idx="526" formatCode="General">
                  <c:v>22.27</c:v>
                </c:pt>
                <c:pt idx="527" formatCode="General">
                  <c:v>23.35</c:v>
                </c:pt>
                <c:pt idx="528" formatCode="General">
                  <c:v>23.31</c:v>
                </c:pt>
                <c:pt idx="529" formatCode="General">
                  <c:v>23.55</c:v>
                </c:pt>
                <c:pt idx="530" formatCode="General">
                  <c:v>25.31</c:v>
                </c:pt>
                <c:pt idx="531" formatCode="General">
                  <c:v>23.05</c:v>
                </c:pt>
                <c:pt idx="532" formatCode="General">
                  <c:v>24.91</c:v>
                </c:pt>
                <c:pt idx="533" formatCode="General">
                  <c:v>23.85</c:v>
                </c:pt>
                <c:pt idx="534" formatCode="General">
                  <c:v>24.04</c:v>
                </c:pt>
                <c:pt idx="535" formatCode="General">
                  <c:v>22.54</c:v>
                </c:pt>
                <c:pt idx="536" formatCode="General">
                  <c:v>22.23</c:v>
                </c:pt>
                <c:pt idx="537" formatCode="General">
                  <c:v>23.2</c:v>
                </c:pt>
                <c:pt idx="538" formatCode="General">
                  <c:v>23.36</c:v>
                </c:pt>
                <c:pt idx="539" formatCode="General">
                  <c:v>22.59</c:v>
                </c:pt>
                <c:pt idx="540" formatCode="General">
                  <c:v>23.95</c:v>
                </c:pt>
                <c:pt idx="541" formatCode="General">
                  <c:v>24.82</c:v>
                </c:pt>
                <c:pt idx="542" formatCode="General">
                  <c:v>28.52</c:v>
                </c:pt>
                <c:pt idx="543" formatCode="General">
                  <c:v>23.3</c:v>
                </c:pt>
                <c:pt idx="544" formatCode="General">
                  <c:v>24.38</c:v>
                </c:pt>
                <c:pt idx="545" formatCode="General">
                  <c:v>23.07</c:v>
                </c:pt>
                <c:pt idx="546" formatCode="General">
                  <c:v>23.38</c:v>
                </c:pt>
                <c:pt idx="547" formatCode="General">
                  <c:v>23.47</c:v>
                </c:pt>
                <c:pt idx="548" formatCode="General">
                  <c:v>23.68</c:v>
                </c:pt>
                <c:pt idx="549" formatCode="General">
                  <c:v>22.15</c:v>
                </c:pt>
                <c:pt idx="550" formatCode="General">
                  <c:v>26.51</c:v>
                </c:pt>
                <c:pt idx="551" formatCode="General">
                  <c:v>23.44</c:v>
                </c:pt>
                <c:pt idx="552" formatCode="General">
                  <c:v>23.14</c:v>
                </c:pt>
                <c:pt idx="553" formatCode="General">
                  <c:v>22.65</c:v>
                </c:pt>
                <c:pt idx="554" formatCode="#,##0.00">
                  <c:v>23.5</c:v>
                </c:pt>
                <c:pt idx="555" formatCode="#,##0.00">
                  <c:v>22.51</c:v>
                </c:pt>
                <c:pt idx="556" formatCode="#,##0.00">
                  <c:v>24.59</c:v>
                </c:pt>
                <c:pt idx="557" formatCode="#,##0.00">
                  <c:v>22.42</c:v>
                </c:pt>
                <c:pt idx="558" formatCode="#,##0.00">
                  <c:v>21.83</c:v>
                </c:pt>
                <c:pt idx="559" formatCode="#,##0.00">
                  <c:v>25.12</c:v>
                </c:pt>
                <c:pt idx="560" formatCode="#,##0.00">
                  <c:v>23.92</c:v>
                </c:pt>
                <c:pt idx="563" formatCode="#,##0.00">
                  <c:v>28.08</c:v>
                </c:pt>
                <c:pt idx="564" formatCode="#,##0.00">
                  <c:v>26.87</c:v>
                </c:pt>
                <c:pt idx="565" formatCode="#,##0.00">
                  <c:v>26.44</c:v>
                </c:pt>
                <c:pt idx="566" formatCode="#,##0.00">
                  <c:v>25.7</c:v>
                </c:pt>
                <c:pt idx="567" formatCode="#,##0.00">
                  <c:v>24.96</c:v>
                </c:pt>
                <c:pt idx="568" formatCode="#,##0.00">
                  <c:v>25.71</c:v>
                </c:pt>
                <c:pt idx="569" formatCode="#,##0.00">
                  <c:v>25.13</c:v>
                </c:pt>
                <c:pt idx="570" formatCode="#,##0.00">
                  <c:v>23.64</c:v>
                </c:pt>
                <c:pt idx="571" formatCode="#,##0.00">
                  <c:v>27.11</c:v>
                </c:pt>
                <c:pt idx="572" formatCode="#,##0.00">
                  <c:v>27.7</c:v>
                </c:pt>
                <c:pt idx="573" formatCode="#,##0.00">
                  <c:v>25.3</c:v>
                </c:pt>
                <c:pt idx="574" formatCode="#,##0.00">
                  <c:v>26.01</c:v>
                </c:pt>
                <c:pt idx="575" formatCode="#,##0.00">
                  <c:v>24.4</c:v>
                </c:pt>
                <c:pt idx="576" formatCode="#,##0.00">
                  <c:v>25.17</c:v>
                </c:pt>
                <c:pt idx="577" formatCode="#,##0.00">
                  <c:v>25.97</c:v>
                </c:pt>
                <c:pt idx="578" formatCode="#,##0.00">
                  <c:v>29.78</c:v>
                </c:pt>
                <c:pt idx="579" formatCode="#,##0.00">
                  <c:v>28.41</c:v>
                </c:pt>
                <c:pt idx="580" formatCode="#,##0.00">
                  <c:v>28.83</c:v>
                </c:pt>
                <c:pt idx="581" formatCode="#,##0.00">
                  <c:v>25.6</c:v>
                </c:pt>
                <c:pt idx="582" formatCode="#,##0.00">
                  <c:v>29.24</c:v>
                </c:pt>
                <c:pt idx="583" formatCode="General">
                  <c:v>28.56</c:v>
                </c:pt>
                <c:pt idx="584" formatCode="General">
                  <c:v>27.23</c:v>
                </c:pt>
                <c:pt idx="585" formatCode="General">
                  <c:v>25.15</c:v>
                </c:pt>
                <c:pt idx="586" formatCode="General">
                  <c:v>25.66</c:v>
                </c:pt>
                <c:pt idx="587" formatCode="General">
                  <c:v>25.78</c:v>
                </c:pt>
                <c:pt idx="588" formatCode="General">
                  <c:v>26.49</c:v>
                </c:pt>
                <c:pt idx="589" formatCode="General">
                  <c:v>25.6</c:v>
                </c:pt>
                <c:pt idx="590" formatCode="General">
                  <c:v>26.38</c:v>
                </c:pt>
                <c:pt idx="591" formatCode="General">
                  <c:v>27.69</c:v>
                </c:pt>
                <c:pt idx="592" formatCode="General">
                  <c:v>25.02</c:v>
                </c:pt>
                <c:pt idx="593" formatCode="General">
                  <c:v>26.01</c:v>
                </c:pt>
                <c:pt idx="594" formatCode="General">
                  <c:v>25.28</c:v>
                </c:pt>
                <c:pt idx="595" formatCode="General">
                  <c:v>24.74</c:v>
                </c:pt>
                <c:pt idx="596" formatCode="General">
                  <c:v>26.41</c:v>
                </c:pt>
                <c:pt idx="597" formatCode="General">
                  <c:v>25.72</c:v>
                </c:pt>
                <c:pt idx="598" formatCode="General">
                  <c:v>23.74</c:v>
                </c:pt>
                <c:pt idx="599" formatCode="General">
                  <c:v>26.89</c:v>
                </c:pt>
                <c:pt idx="600" formatCode="General">
                  <c:v>26.73</c:v>
                </c:pt>
                <c:pt idx="601" formatCode="General">
                  <c:v>25.85</c:v>
                </c:pt>
                <c:pt idx="602" formatCode="General">
                  <c:v>25.91</c:v>
                </c:pt>
                <c:pt idx="603" formatCode="General">
                  <c:v>26.28</c:v>
                </c:pt>
                <c:pt idx="604" formatCode="General">
                  <c:v>26.87</c:v>
                </c:pt>
                <c:pt idx="605" formatCode="General">
                  <c:v>24.53</c:v>
                </c:pt>
                <c:pt idx="606" formatCode="General">
                  <c:v>25.18</c:v>
                </c:pt>
                <c:pt idx="607" formatCode="General">
                  <c:v>27.41</c:v>
                </c:pt>
                <c:pt idx="608" formatCode="General">
                  <c:v>26.21</c:v>
                </c:pt>
                <c:pt idx="609" formatCode="General">
                  <c:v>33.380000000000003</c:v>
                </c:pt>
                <c:pt idx="610" formatCode="General">
                  <c:v>26.24</c:v>
                </c:pt>
                <c:pt idx="611" formatCode="General">
                  <c:v>26.66</c:v>
                </c:pt>
                <c:pt idx="612" formatCode="General">
                  <c:v>28</c:v>
                </c:pt>
                <c:pt idx="613" formatCode="General">
                  <c:v>27.71</c:v>
                </c:pt>
                <c:pt idx="614" formatCode="General">
                  <c:v>26.74</c:v>
                </c:pt>
                <c:pt idx="615" formatCode="General">
                  <c:v>24.82</c:v>
                </c:pt>
                <c:pt idx="620" formatCode="General">
                  <c:v>29.71</c:v>
                </c:pt>
                <c:pt idx="621" formatCode="General">
                  <c:v>28.32</c:v>
                </c:pt>
                <c:pt idx="622" formatCode="General">
                  <c:v>30.25</c:v>
                </c:pt>
                <c:pt idx="623" formatCode="General">
                  <c:v>27.41</c:v>
                </c:pt>
                <c:pt idx="624" formatCode="General">
                  <c:v>30.24</c:v>
                </c:pt>
                <c:pt idx="625" formatCode="General">
                  <c:v>28.24</c:v>
                </c:pt>
                <c:pt idx="626" formatCode="General">
                  <c:v>30.2</c:v>
                </c:pt>
                <c:pt idx="627" formatCode="General">
                  <c:v>28.86</c:v>
                </c:pt>
                <c:pt idx="628" formatCode="General">
                  <c:v>26.45</c:v>
                </c:pt>
                <c:pt idx="629" formatCode="General">
                  <c:v>27.31</c:v>
                </c:pt>
                <c:pt idx="630" formatCode="General">
                  <c:v>27.86</c:v>
                </c:pt>
                <c:pt idx="631" formatCode="General">
                  <c:v>28.95</c:v>
                </c:pt>
                <c:pt idx="632" formatCode="General">
                  <c:v>27.28</c:v>
                </c:pt>
                <c:pt idx="633" formatCode="General">
                  <c:v>28.64</c:v>
                </c:pt>
                <c:pt idx="634" formatCode="General">
                  <c:v>29.84</c:v>
                </c:pt>
                <c:pt idx="635" formatCode="General">
                  <c:v>27.29</c:v>
                </c:pt>
                <c:pt idx="636" formatCode="General">
                  <c:v>26.91</c:v>
                </c:pt>
                <c:pt idx="637" formatCode="General">
                  <c:v>26.67</c:v>
                </c:pt>
                <c:pt idx="638" formatCode="General">
                  <c:v>26.16</c:v>
                </c:pt>
                <c:pt idx="639" formatCode="General">
                  <c:v>24.54</c:v>
                </c:pt>
                <c:pt idx="640" formatCode="General">
                  <c:v>25.08</c:v>
                </c:pt>
                <c:pt idx="641" formatCode="General">
                  <c:v>25.66</c:v>
                </c:pt>
                <c:pt idx="642" formatCode="General">
                  <c:v>26.23</c:v>
                </c:pt>
                <c:pt idx="643" formatCode="General">
                  <c:v>24.29</c:v>
                </c:pt>
                <c:pt idx="644" formatCode="General">
                  <c:v>24.73</c:v>
                </c:pt>
                <c:pt idx="645" formatCode="General">
                  <c:v>24.36</c:v>
                </c:pt>
                <c:pt idx="646" formatCode="General">
                  <c:v>25.46</c:v>
                </c:pt>
                <c:pt idx="647" formatCode="General">
                  <c:v>27.36</c:v>
                </c:pt>
                <c:pt idx="648" formatCode="General">
                  <c:v>23.59</c:v>
                </c:pt>
                <c:pt idx="649" formatCode="General">
                  <c:v>24.21</c:v>
                </c:pt>
                <c:pt idx="650" formatCode="General">
                  <c:v>23.27</c:v>
                </c:pt>
                <c:pt idx="651" formatCode="General">
                  <c:v>24.99</c:v>
                </c:pt>
                <c:pt idx="652" formatCode="General">
                  <c:v>23.81</c:v>
                </c:pt>
                <c:pt idx="653" formatCode="General">
                  <c:v>24.54</c:v>
                </c:pt>
                <c:pt idx="654" formatCode="General">
                  <c:v>27.12</c:v>
                </c:pt>
                <c:pt idx="655" formatCode="General">
                  <c:v>23.46</c:v>
                </c:pt>
                <c:pt idx="656" formatCode="General">
                  <c:v>26.9</c:v>
                </c:pt>
                <c:pt idx="657" formatCode="General">
                  <c:v>24.34</c:v>
                </c:pt>
                <c:pt idx="658" formatCode="General">
                  <c:v>26.22</c:v>
                </c:pt>
                <c:pt idx="659" formatCode="General">
                  <c:v>25.82</c:v>
                </c:pt>
                <c:pt idx="660" formatCode="General">
                  <c:v>24.72</c:v>
                </c:pt>
                <c:pt idx="661" formatCode="General">
                  <c:v>25.05</c:v>
                </c:pt>
                <c:pt idx="662" formatCode="General">
                  <c:v>23.82</c:v>
                </c:pt>
                <c:pt idx="663" formatCode="General">
                  <c:v>25.87</c:v>
                </c:pt>
                <c:pt idx="664" formatCode="General">
                  <c:v>24.08</c:v>
                </c:pt>
                <c:pt idx="665" formatCode="General">
                  <c:v>25.59</c:v>
                </c:pt>
                <c:pt idx="666" formatCode="General">
                  <c:v>27.36</c:v>
                </c:pt>
                <c:pt idx="667" formatCode="General">
                  <c:v>26.08</c:v>
                </c:pt>
                <c:pt idx="668" formatCode="General">
                  <c:v>26.1</c:v>
                </c:pt>
                <c:pt idx="669" formatCode="General">
                  <c:v>28.02</c:v>
                </c:pt>
                <c:pt idx="670" formatCode="General">
                  <c:v>29.23</c:v>
                </c:pt>
                <c:pt idx="671" formatCode="General">
                  <c:v>29.28</c:v>
                </c:pt>
                <c:pt idx="672" formatCode="General">
                  <c:v>27.59</c:v>
                </c:pt>
                <c:pt idx="673" formatCode="General">
                  <c:v>26.07</c:v>
                </c:pt>
                <c:pt idx="674" formatCode="General">
                  <c:v>25.98</c:v>
                </c:pt>
                <c:pt idx="675" formatCode="General">
                  <c:v>26.2</c:v>
                </c:pt>
                <c:pt idx="676" formatCode="General">
                  <c:v>26.45</c:v>
                </c:pt>
                <c:pt idx="677" formatCode="General">
                  <c:v>26.7</c:v>
                </c:pt>
                <c:pt idx="678" formatCode="General">
                  <c:v>28.04</c:v>
                </c:pt>
                <c:pt idx="679" formatCode="General">
                  <c:v>24.88</c:v>
                </c:pt>
                <c:pt idx="680" formatCode="General">
                  <c:v>25.37</c:v>
                </c:pt>
                <c:pt idx="681" formatCode="General">
                  <c:v>25.99</c:v>
                </c:pt>
                <c:pt idx="682" formatCode="General">
                  <c:v>25.85</c:v>
                </c:pt>
                <c:pt idx="683" formatCode="General">
                  <c:v>27.12</c:v>
                </c:pt>
                <c:pt idx="684" formatCode="General">
                  <c:v>27.2</c:v>
                </c:pt>
                <c:pt idx="685" formatCode="General">
                  <c:v>26.18</c:v>
                </c:pt>
                <c:pt idx="686" formatCode="General">
                  <c:v>36.07</c:v>
                </c:pt>
                <c:pt idx="687" formatCode="General">
                  <c:v>27.58</c:v>
                </c:pt>
                <c:pt idx="688" formatCode="General">
                  <c:v>26.66</c:v>
                </c:pt>
                <c:pt idx="689" formatCode="General">
                  <c:v>24.75</c:v>
                </c:pt>
                <c:pt idx="690" formatCode="General">
                  <c:v>23.94</c:v>
                </c:pt>
                <c:pt idx="691" formatCode="General">
                  <c:v>24.02</c:v>
                </c:pt>
                <c:pt idx="692" formatCode="General">
                  <c:v>25.54</c:v>
                </c:pt>
                <c:pt idx="693" formatCode="General">
                  <c:v>23.25</c:v>
                </c:pt>
                <c:pt idx="694" formatCode="General">
                  <c:v>21.79</c:v>
                </c:pt>
                <c:pt idx="695" formatCode="General">
                  <c:v>21.15</c:v>
                </c:pt>
                <c:pt idx="696" formatCode="General">
                  <c:v>20.21</c:v>
                </c:pt>
                <c:pt idx="697" formatCode="General">
                  <c:v>21.48</c:v>
                </c:pt>
                <c:pt idx="698" formatCode="General">
                  <c:v>19.489999999999998</c:v>
                </c:pt>
                <c:pt idx="699" formatCode="General">
                  <c:v>20.89</c:v>
                </c:pt>
                <c:pt idx="700" formatCode="General">
                  <c:v>22.77</c:v>
                </c:pt>
                <c:pt idx="701" formatCode="General">
                  <c:v>23.83</c:v>
                </c:pt>
                <c:pt idx="702" formatCode="General">
                  <c:v>27.3</c:v>
                </c:pt>
                <c:pt idx="703" formatCode="General">
                  <c:v>22.6</c:v>
                </c:pt>
                <c:pt idx="704" formatCode="General">
                  <c:v>24.73</c:v>
                </c:pt>
                <c:pt idx="705" formatCode="General">
                  <c:v>23.56</c:v>
                </c:pt>
                <c:pt idx="706" formatCode="General">
                  <c:v>23.74</c:v>
                </c:pt>
                <c:pt idx="707" formatCode="General">
                  <c:v>24.49</c:v>
                </c:pt>
                <c:pt idx="708" formatCode="General">
                  <c:v>24.06</c:v>
                </c:pt>
                <c:pt idx="709" formatCode="General">
                  <c:v>22.69</c:v>
                </c:pt>
                <c:pt idx="710" formatCode="General">
                  <c:v>22.23</c:v>
                </c:pt>
                <c:pt idx="711" formatCode="General">
                  <c:v>22.73</c:v>
                </c:pt>
                <c:pt idx="712" formatCode="General">
                  <c:v>28.53</c:v>
                </c:pt>
                <c:pt idx="713" formatCode="General">
                  <c:v>24.43</c:v>
                </c:pt>
                <c:pt idx="714" formatCode="General">
                  <c:v>26.48</c:v>
                </c:pt>
                <c:pt idx="715" formatCode="General">
                  <c:v>31.12</c:v>
                </c:pt>
                <c:pt idx="716" formatCode="General">
                  <c:v>23.13</c:v>
                </c:pt>
                <c:pt idx="717" formatCode="General">
                  <c:v>24.2</c:v>
                </c:pt>
                <c:pt idx="718" formatCode="General">
                  <c:v>28.27</c:v>
                </c:pt>
                <c:pt idx="719" formatCode="General">
                  <c:v>25.8</c:v>
                </c:pt>
                <c:pt idx="720" formatCode="General">
                  <c:v>26.1</c:v>
                </c:pt>
                <c:pt idx="721" formatCode="General">
                  <c:v>26.87</c:v>
                </c:pt>
                <c:pt idx="722" formatCode="General">
                  <c:v>28.18</c:v>
                </c:pt>
                <c:pt idx="723" formatCode="General">
                  <c:v>23.62</c:v>
                </c:pt>
                <c:pt idx="724" formatCode="General">
                  <c:v>25.93</c:v>
                </c:pt>
                <c:pt idx="725" formatCode="General">
                  <c:v>25.32</c:v>
                </c:pt>
                <c:pt idx="726" formatCode="General">
                  <c:v>28.42</c:v>
                </c:pt>
                <c:pt idx="727" formatCode="General">
                  <c:v>24.55</c:v>
                </c:pt>
                <c:pt idx="728" formatCode="General">
                  <c:v>26.31</c:v>
                </c:pt>
                <c:pt idx="729" formatCode="General">
                  <c:v>26.75</c:v>
                </c:pt>
                <c:pt idx="730" formatCode="General">
                  <c:v>25.34</c:v>
                </c:pt>
                <c:pt idx="731" formatCode="General">
                  <c:v>28.22</c:v>
                </c:pt>
                <c:pt idx="732" formatCode="General">
                  <c:v>29.03</c:v>
                </c:pt>
                <c:pt idx="733" formatCode="General">
                  <c:v>27.51</c:v>
                </c:pt>
                <c:pt idx="734" formatCode="General">
                  <c:v>23.11</c:v>
                </c:pt>
                <c:pt idx="735" formatCode="General">
                  <c:v>23.95</c:v>
                </c:pt>
                <c:pt idx="736" formatCode="General">
                  <c:v>25.86</c:v>
                </c:pt>
                <c:pt idx="737" formatCode="General">
                  <c:v>25.11</c:v>
                </c:pt>
                <c:pt idx="738" formatCode="General">
                  <c:v>23.27</c:v>
                </c:pt>
                <c:pt idx="739" formatCode="General">
                  <c:v>24.61</c:v>
                </c:pt>
                <c:pt idx="740" formatCode="General">
                  <c:v>26.69</c:v>
                </c:pt>
                <c:pt idx="741" formatCode="General">
                  <c:v>26.37</c:v>
                </c:pt>
                <c:pt idx="742" formatCode="General">
                  <c:v>23.91</c:v>
                </c:pt>
                <c:pt idx="743" formatCode="General">
                  <c:v>24.88</c:v>
                </c:pt>
                <c:pt idx="744" formatCode="General">
                  <c:v>22.58</c:v>
                </c:pt>
                <c:pt idx="745" formatCode="General">
                  <c:v>25.77</c:v>
                </c:pt>
                <c:pt idx="746" formatCode="General">
                  <c:v>24.68</c:v>
                </c:pt>
                <c:pt idx="747" formatCode="General">
                  <c:v>25.59</c:v>
                </c:pt>
                <c:pt idx="748" formatCode="General">
                  <c:v>24.78</c:v>
                </c:pt>
                <c:pt idx="749" formatCode="General">
                  <c:v>26.57</c:v>
                </c:pt>
                <c:pt idx="750" formatCode="General">
                  <c:v>29.16</c:v>
                </c:pt>
                <c:pt idx="751" formatCode="General">
                  <c:v>25.06</c:v>
                </c:pt>
                <c:pt idx="752" formatCode="General">
                  <c:v>25.61</c:v>
                </c:pt>
                <c:pt idx="753" formatCode="General">
                  <c:v>28.52</c:v>
                </c:pt>
                <c:pt idx="754" formatCode="General">
                  <c:v>29.63</c:v>
                </c:pt>
                <c:pt idx="755" formatCode="General">
                  <c:v>28.55</c:v>
                </c:pt>
                <c:pt idx="756" formatCode="General">
                  <c:v>31.48</c:v>
                </c:pt>
                <c:pt idx="757" formatCode="General">
                  <c:v>30.67</c:v>
                </c:pt>
                <c:pt idx="758" formatCode="General">
                  <c:v>31.4</c:v>
                </c:pt>
                <c:pt idx="759" formatCode="General">
                  <c:v>29.46</c:v>
                </c:pt>
                <c:pt idx="760" formatCode="General">
                  <c:v>29.42</c:v>
                </c:pt>
                <c:pt idx="761" formatCode="General">
                  <c:v>28.31</c:v>
                </c:pt>
                <c:pt idx="762" formatCode="General">
                  <c:v>32.72</c:v>
                </c:pt>
                <c:pt idx="763" formatCode="General">
                  <c:v>32.369999999999997</c:v>
                </c:pt>
                <c:pt idx="764" formatCode="General">
                  <c:v>29.04</c:v>
                </c:pt>
                <c:pt idx="765" formatCode="General">
                  <c:v>32.99</c:v>
                </c:pt>
                <c:pt idx="766" formatCode="General">
                  <c:v>30.04</c:v>
                </c:pt>
                <c:pt idx="767" formatCode="General">
                  <c:v>33.090000000000003</c:v>
                </c:pt>
                <c:pt idx="768" formatCode="General">
                  <c:v>30.64</c:v>
                </c:pt>
                <c:pt idx="769" formatCode="General">
                  <c:v>31.15</c:v>
                </c:pt>
                <c:pt idx="770" formatCode="General">
                  <c:v>32.020000000000003</c:v>
                </c:pt>
                <c:pt idx="771" formatCode="General">
                  <c:v>32.9</c:v>
                </c:pt>
                <c:pt idx="773" formatCode="General">
                  <c:v>30.78</c:v>
                </c:pt>
                <c:pt idx="774" formatCode="General">
                  <c:v>32.85</c:v>
                </c:pt>
                <c:pt idx="775" formatCode="General">
                  <c:v>34.57</c:v>
                </c:pt>
                <c:pt idx="776" formatCode="General">
                  <c:v>32.24</c:v>
                </c:pt>
                <c:pt idx="777" formatCode="General">
                  <c:v>34.07</c:v>
                </c:pt>
                <c:pt idx="778" formatCode="General">
                  <c:v>33.159999999999997</c:v>
                </c:pt>
                <c:pt idx="779" formatCode="General">
                  <c:v>34.229999999999997</c:v>
                </c:pt>
                <c:pt idx="780" formatCode="General">
                  <c:v>37.51</c:v>
                </c:pt>
                <c:pt idx="781" formatCode="General">
                  <c:v>30.26</c:v>
                </c:pt>
                <c:pt idx="782" formatCode="General">
                  <c:v>32.17</c:v>
                </c:pt>
                <c:pt idx="783" formatCode="General">
                  <c:v>31.36</c:v>
                </c:pt>
                <c:pt idx="784" formatCode="General">
                  <c:v>29.38</c:v>
                </c:pt>
                <c:pt idx="785" formatCode="General">
                  <c:v>33.69</c:v>
                </c:pt>
                <c:pt idx="786" formatCode="General">
                  <c:v>30.13</c:v>
                </c:pt>
                <c:pt idx="787" formatCode="General">
                  <c:v>28.52</c:v>
                </c:pt>
                <c:pt idx="788" formatCode="General">
                  <c:v>28.97</c:v>
                </c:pt>
                <c:pt idx="789" formatCode="General">
                  <c:v>27.36</c:v>
                </c:pt>
                <c:pt idx="790" formatCode="General">
                  <c:v>30.7</c:v>
                </c:pt>
                <c:pt idx="791" formatCode="General">
                  <c:v>29.09</c:v>
                </c:pt>
                <c:pt idx="792" formatCode="General">
                  <c:v>29.94</c:v>
                </c:pt>
                <c:pt idx="793" formatCode="General">
                  <c:v>29.4</c:v>
                </c:pt>
                <c:pt idx="794" formatCode="General">
                  <c:v>29.89</c:v>
                </c:pt>
                <c:pt idx="795" formatCode="General">
                  <c:v>28.4</c:v>
                </c:pt>
                <c:pt idx="796" formatCode="General">
                  <c:v>30.46</c:v>
                </c:pt>
                <c:pt idx="797" formatCode="General">
                  <c:v>34.049999999999997</c:v>
                </c:pt>
                <c:pt idx="798" formatCode="General">
                  <c:v>30.31</c:v>
                </c:pt>
                <c:pt idx="799" formatCode="General">
                  <c:v>31.43</c:v>
                </c:pt>
                <c:pt idx="800" formatCode="General">
                  <c:v>33.369999999999997</c:v>
                </c:pt>
                <c:pt idx="801" formatCode="General">
                  <c:v>32.32</c:v>
                </c:pt>
              </c:numCache>
            </c:numRef>
          </c:val>
          <c:smooth val="0"/>
          <c:extLst>
            <c:ext xmlns:c16="http://schemas.microsoft.com/office/drawing/2014/chart" uri="{C3380CC4-5D6E-409C-BE32-E72D297353CC}">
              <c16:uniqueId val="{00000000-80F8-4A61-A528-A8DCFB04FE9E}"/>
            </c:ext>
          </c:extLst>
        </c:ser>
        <c:dLbls>
          <c:showLegendKey val="0"/>
          <c:showVal val="0"/>
          <c:showCatName val="0"/>
          <c:showSerName val="0"/>
          <c:showPercent val="0"/>
          <c:showBubbleSize val="0"/>
        </c:dLbls>
        <c:smooth val="0"/>
        <c:axId val="1222320319"/>
        <c:axId val="1"/>
      </c:lineChart>
      <c:catAx>
        <c:axId val="1222320319"/>
        <c:scaling>
          <c:orientation val="minMax"/>
        </c:scaling>
        <c:delete val="0"/>
        <c:axPos val="b"/>
        <c:numFmt formatCode="General" sourceLinked="1"/>
        <c:majorTickMark val="out"/>
        <c:minorTickMark val="none"/>
        <c:tickLblPos val="nextTo"/>
        <c:txPr>
          <a:bodyPr rot="900000" vert="horz"/>
          <a:lstStyle/>
          <a:p>
            <a:pPr>
              <a:defRPr sz="1000" b="1" i="0" u="none" strike="noStrike" baseline="0">
                <a:solidFill>
                  <a:srgbClr val="000000"/>
                </a:solidFill>
                <a:latin typeface="Calibri"/>
                <a:ea typeface="Calibri"/>
                <a:cs typeface="Calibri"/>
              </a:defRPr>
            </a:pPr>
            <a:endParaRPr lang="en-US"/>
          </a:p>
        </c:txPr>
        <c:crossAx val="1"/>
        <c:crosses val="autoZero"/>
        <c:auto val="1"/>
        <c:lblAlgn val="ctr"/>
        <c:lblOffset val="100"/>
        <c:noMultiLvlLbl val="0"/>
      </c:catAx>
      <c:valAx>
        <c:axId val="1"/>
        <c:scaling>
          <c:orientation val="minMax"/>
        </c:scaling>
        <c:delete val="0"/>
        <c:axPos val="l"/>
        <c:majorGridlines/>
        <c:title>
          <c:tx>
            <c:rich>
              <a:bodyPr/>
              <a:lstStyle/>
              <a:p>
                <a:pPr>
                  <a:defRPr sz="1000" b="0" i="0" u="none" strike="noStrike" baseline="0">
                    <a:solidFill>
                      <a:srgbClr val="000000"/>
                    </a:solidFill>
                    <a:latin typeface="Calibri"/>
                    <a:ea typeface="Calibri"/>
                    <a:cs typeface="Calibri"/>
                  </a:defRPr>
                </a:pPr>
                <a:r>
                  <a:rPr lang="en-ZA"/>
                  <a:t>R/kg</a:t>
                </a:r>
              </a:p>
            </c:rich>
          </c:tx>
          <c:overlay val="0"/>
        </c:title>
        <c:numFmt formatCode="\R\ #,##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222320319"/>
        <c:crosses val="autoZero"/>
        <c:crossBetween val="between"/>
      </c:valAx>
    </c:plotArea>
    <c:plotVisOnly val="1"/>
    <c:dispBlanksAs val="span"/>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6/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044656"/>
            <a:ext cx="10945216" cy="2354642"/>
          </a:xfrm>
        </p:spPr>
        <p:txBody>
          <a:bodyPr>
            <a:normAutofit/>
          </a:bodyPr>
          <a:lstStyle/>
          <a:p>
            <a:r>
              <a:rPr lang="en-US" sz="3600" dirty="0"/>
              <a:t>Weekly report on price trends and performances of beef cattle in South Africa</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Week 21 2026</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Agriculture</a:t>
            </a:r>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73B0C-F68B-0747-5A00-15858128218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CC02053-1CF9-750E-3EC5-2AC3E3E55651}"/>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10CD5925-4D18-A019-3F65-A468941CF088}"/>
              </a:ext>
            </a:extLst>
          </p:cNvPr>
          <p:cNvGraphicFramePr>
            <a:graphicFrameLocks/>
          </p:cNvGraphicFramePr>
          <p:nvPr/>
        </p:nvGraphicFramePr>
        <p:xfrm>
          <a:off x="1889760" y="1200150"/>
          <a:ext cx="841248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1919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2395E5-1111-A100-11DB-FD92B909F9E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A451E2F-93C9-9EF0-1A57-DA8E9BE95E84}"/>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E17B0D35-73C4-90BF-502E-9F14FCAE0B05}"/>
              </a:ext>
            </a:extLst>
          </p:cNvPr>
          <p:cNvGraphicFramePr>
            <a:graphicFrameLocks/>
          </p:cNvGraphicFramePr>
          <p:nvPr/>
        </p:nvGraphicFramePr>
        <p:xfrm>
          <a:off x="2040890" y="1200150"/>
          <a:ext cx="811022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9316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A3897-E86C-625B-AA44-6C906525640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A601158-8BC8-C26F-2D2C-290C9CA1DE0B}"/>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61870C0C-E787-B59D-B1FB-4A8DF9823328}"/>
              </a:ext>
            </a:extLst>
          </p:cNvPr>
          <p:cNvGraphicFramePr>
            <a:graphicFrameLocks/>
          </p:cNvGraphicFramePr>
          <p:nvPr/>
        </p:nvGraphicFramePr>
        <p:xfrm>
          <a:off x="1889760" y="1200150"/>
          <a:ext cx="841248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28111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870CC-8E47-8D91-9DC9-3E05541F132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CDA5DA2-C736-AF2C-2FA4-7B8B3E033A5B}"/>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2BC4BA6A-967D-B4DB-7BC4-2F4EAC203522}"/>
              </a:ext>
            </a:extLst>
          </p:cNvPr>
          <p:cNvGraphicFramePr>
            <a:graphicFrameLocks/>
          </p:cNvGraphicFramePr>
          <p:nvPr/>
        </p:nvGraphicFramePr>
        <p:xfrm>
          <a:off x="1976120" y="1200150"/>
          <a:ext cx="823976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25212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3F101-B5A4-735D-A4DA-92203DC4623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8486FFB-FD2D-D3AA-0088-707AE6FF2C51}"/>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D18103D5-195D-9AF9-2BFF-BA2614347BAF}"/>
              </a:ext>
            </a:extLst>
          </p:cNvPr>
          <p:cNvGraphicFramePr>
            <a:graphicFrameLocks/>
          </p:cNvGraphicFramePr>
          <p:nvPr/>
        </p:nvGraphicFramePr>
        <p:xfrm>
          <a:off x="1889760" y="1200150"/>
          <a:ext cx="841248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28479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DB4D0-C199-9818-A2CC-536419B39F5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5367DB3-312E-7E36-E0D0-596D776BB3B1}"/>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D22A3EDF-7D38-9E16-8CD2-A4EEB109D8D9}"/>
              </a:ext>
            </a:extLst>
          </p:cNvPr>
          <p:cNvGraphicFramePr>
            <a:graphicFrameLocks/>
          </p:cNvGraphicFramePr>
          <p:nvPr/>
        </p:nvGraphicFramePr>
        <p:xfrm>
          <a:off x="1976120" y="1211580"/>
          <a:ext cx="8239760" cy="443484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00026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E53B5-D7A8-6BAF-6F26-A8B51866C18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63C859F-C246-3367-3852-329DBB83A429}"/>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C79E365B-25B9-1F46-2029-3F97F18E8315}"/>
              </a:ext>
            </a:extLst>
          </p:cNvPr>
          <p:cNvGraphicFramePr>
            <a:graphicFrameLocks/>
          </p:cNvGraphicFramePr>
          <p:nvPr/>
        </p:nvGraphicFramePr>
        <p:xfrm>
          <a:off x="1889760" y="1211580"/>
          <a:ext cx="8412480" cy="443484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76777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ADE9C-231F-61E2-76C4-DED7ECFCB7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C991E5E-4AF0-C443-3BF7-AE5DFC587BC7}"/>
              </a:ext>
            </a:extLst>
          </p:cNvPr>
          <p:cNvSpPr>
            <a:spLocks noGrp="1"/>
          </p:cNvSpPr>
          <p:nvPr>
            <p:ph type="title"/>
          </p:nvPr>
        </p:nvSpPr>
        <p:spPr/>
        <p:txBody>
          <a:bodyPr/>
          <a:lstStyle/>
          <a:p>
            <a:r>
              <a:rPr lang="en-US" dirty="0"/>
              <a:t>SOURCE</a:t>
            </a:r>
            <a:endParaRPr lang="en-ZA" dirty="0"/>
          </a:p>
        </p:txBody>
      </p:sp>
      <p:sp>
        <p:nvSpPr>
          <p:cNvPr id="11" name="Text Placeholder 10">
            <a:extLst>
              <a:ext uri="{FF2B5EF4-FFF2-40B4-BE49-F238E27FC236}">
                <a16:creationId xmlns:a16="http://schemas.microsoft.com/office/drawing/2014/main" id="{C6DA2236-559B-3C0C-49A7-EA3DEA999FCE}"/>
              </a:ext>
            </a:extLst>
          </p:cNvPr>
          <p:cNvSpPr>
            <a:spLocks noGrp="1"/>
          </p:cNvSpPr>
          <p:nvPr>
            <p:ph type="body" sz="quarter" idx="10"/>
          </p:nvPr>
        </p:nvSpPr>
        <p:spPr/>
        <p:txBody>
          <a:bodyPr/>
          <a:lstStyle/>
          <a:p>
            <a:r>
              <a:rPr lang="en-US" dirty="0"/>
              <a:t>DATA SUPPLIED BY:  https://www.vleissentraal.co.za/</a:t>
            </a:r>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p:txBody>
      </p:sp>
      <p:pic>
        <p:nvPicPr>
          <p:cNvPr id="3" name="Picture 2">
            <a:extLst>
              <a:ext uri="{FF2B5EF4-FFF2-40B4-BE49-F238E27FC236}">
                <a16:creationId xmlns:a16="http://schemas.microsoft.com/office/drawing/2014/main" id="{FF828BA8-D20A-3B2C-9326-2C1713455054}"/>
              </a:ext>
            </a:extLst>
          </p:cNvPr>
          <p:cNvPicPr>
            <a:picLocks noChangeAspect="1"/>
          </p:cNvPicPr>
          <p:nvPr/>
        </p:nvPicPr>
        <p:blipFill>
          <a:blip r:embed="rId2"/>
          <a:stretch>
            <a:fillRect/>
          </a:stretch>
        </p:blipFill>
        <p:spPr>
          <a:xfrm>
            <a:off x="3643223" y="2443162"/>
            <a:ext cx="3743325" cy="1971675"/>
          </a:xfrm>
          <a:prstGeom prst="rect">
            <a:avLst/>
          </a:prstGeom>
        </p:spPr>
      </p:pic>
    </p:spTree>
    <p:extLst>
      <p:ext uri="{BB962C8B-B14F-4D97-AF65-F5344CB8AC3E}">
        <p14:creationId xmlns:p14="http://schemas.microsoft.com/office/powerpoint/2010/main" val="2719191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J Murdoch</a:t>
            </a:r>
          </a:p>
        </p:txBody>
      </p:sp>
    </p:spTree>
    <p:extLst>
      <p:ext uri="{BB962C8B-B14F-4D97-AF65-F5344CB8AC3E}">
        <p14:creationId xmlns:p14="http://schemas.microsoft.com/office/powerpoint/2010/main" val="2767394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416B4C9-6B1A-4718-591A-2F8973258789}"/>
              </a:ext>
            </a:extLst>
          </p:cNvPr>
          <p:cNvSpPr>
            <a:spLocks noGrp="1"/>
          </p:cNvSpPr>
          <p:nvPr>
            <p:ph type="title"/>
          </p:nvPr>
        </p:nvSpPr>
        <p:spPr/>
        <p:txBody>
          <a:bodyPr/>
          <a:lstStyle/>
          <a:p>
            <a:r>
              <a:rPr lang="en-US" dirty="0"/>
              <a:t>INDEMNITY</a:t>
            </a:r>
            <a:endParaRPr lang="en-ZA" dirty="0"/>
          </a:p>
        </p:txBody>
      </p:sp>
      <p:sp>
        <p:nvSpPr>
          <p:cNvPr id="11" name="Text Placeholder 10">
            <a:extLst>
              <a:ext uri="{FF2B5EF4-FFF2-40B4-BE49-F238E27FC236}">
                <a16:creationId xmlns:a16="http://schemas.microsoft.com/office/drawing/2014/main" id="{25BCE773-7CE3-EDA7-92BC-972E142C61F8}"/>
              </a:ext>
            </a:extLst>
          </p:cNvPr>
          <p:cNvSpPr>
            <a:spLocks noGrp="1"/>
          </p:cNvSpPr>
          <p:nvPr>
            <p:ph type="body" sz="quarter" idx="10"/>
          </p:nvPr>
        </p:nvSpPr>
        <p:spPr>
          <a:xfrm>
            <a:off x="2281727" y="2008262"/>
            <a:ext cx="8024501" cy="4084564"/>
          </a:xfrm>
        </p:spPr>
        <p:txBody>
          <a:bodyPr/>
          <a:lstStyle/>
          <a:p>
            <a:pPr algn="just">
              <a:lnSpc>
                <a:spcPct val="150000"/>
              </a:lnSpc>
            </a:pPr>
            <a:r>
              <a:rPr lang="en-US" dirty="0">
                <a:solidFill>
                  <a:schemeClr val="bg1">
                    <a:lumMod val="50000"/>
                  </a:schemeClr>
                </a:solidFill>
              </a:rPr>
              <a:t>The Western Cape Department of Agriculture prepared this data/information as accurately as possible. However, as this document contains data from various sources, its correctness cannot be guaranteed. Any person using this information will be doing so at own risk and the said organisation or any other party will under no circumstances be responsible for any loss suffered by any person/organisation using the information contained in this document.</a:t>
            </a:r>
            <a:endParaRPr lang="en-ZA" dirty="0">
              <a:solidFill>
                <a:schemeClr val="bg1">
                  <a:lumMod val="50000"/>
                </a:schemeClr>
              </a:solidFill>
            </a:endParaRPr>
          </a:p>
        </p:txBody>
      </p:sp>
    </p:spTree>
    <p:extLst>
      <p:ext uri="{BB962C8B-B14F-4D97-AF65-F5344CB8AC3E}">
        <p14:creationId xmlns:p14="http://schemas.microsoft.com/office/powerpoint/2010/main" val="63109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BC52C-D347-0304-4DFE-854F7FE491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08A0EE1-472C-9137-1FE8-3703E68AE027}"/>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EF2C3D0A-99ED-90F0-79B5-0114822C8E6B}"/>
              </a:ext>
            </a:extLst>
          </p:cNvPr>
          <p:cNvGraphicFramePr>
            <a:graphicFrameLocks/>
          </p:cNvGraphicFramePr>
          <p:nvPr/>
        </p:nvGraphicFramePr>
        <p:xfrm>
          <a:off x="1957070" y="1200150"/>
          <a:ext cx="827786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298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F4E46-133C-4BE1-BBEE-4AB48CD7D28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F4D687F-3605-510E-40EF-00E091CDB69E}"/>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2A7F3C59-E255-9E38-AB75-CC6A20415378}"/>
              </a:ext>
            </a:extLst>
          </p:cNvPr>
          <p:cNvGraphicFramePr>
            <a:graphicFrameLocks/>
          </p:cNvGraphicFramePr>
          <p:nvPr/>
        </p:nvGraphicFramePr>
        <p:xfrm>
          <a:off x="1889760" y="1200150"/>
          <a:ext cx="841248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26933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23627-2E1F-C9E8-CD03-03A84C22E3F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43C753F-FCAA-0605-5523-3783EA873F23}"/>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E6EF4970-E03D-83DD-F878-12A1BA33E045}"/>
              </a:ext>
            </a:extLst>
          </p:cNvPr>
          <p:cNvGraphicFramePr>
            <a:graphicFrameLocks/>
          </p:cNvGraphicFramePr>
          <p:nvPr/>
        </p:nvGraphicFramePr>
        <p:xfrm>
          <a:off x="1976120" y="1200150"/>
          <a:ext cx="823976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17878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53A92-35B7-06BE-F630-A945C35EA1E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6CB2347-A6C5-C895-5371-B8D8A1FFAC0F}"/>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F29C102D-55C8-B32D-B0E6-0DF9F59526E3}"/>
              </a:ext>
            </a:extLst>
          </p:cNvPr>
          <p:cNvGraphicFramePr>
            <a:graphicFrameLocks/>
          </p:cNvGraphicFramePr>
          <p:nvPr/>
        </p:nvGraphicFramePr>
        <p:xfrm>
          <a:off x="1905000" y="1214120"/>
          <a:ext cx="8382000" cy="44297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285080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68B9E-0F66-112F-961B-384D865582D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E1C3872-00E2-FE87-8B68-3935C3CD4C9D}"/>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F4F212DA-2575-AAD7-925B-3D482F8EA009}"/>
              </a:ext>
            </a:extLst>
          </p:cNvPr>
          <p:cNvGraphicFramePr>
            <a:graphicFrameLocks/>
          </p:cNvGraphicFramePr>
          <p:nvPr/>
        </p:nvGraphicFramePr>
        <p:xfrm>
          <a:off x="1976120" y="1200150"/>
          <a:ext cx="823976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22301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B2873-C96F-7856-26E9-269F91DDC2B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E228141-4BE6-8439-B538-4A1548E3B094}"/>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71111D5B-E7DB-78C2-203C-33FCEA556A0B}"/>
              </a:ext>
            </a:extLst>
          </p:cNvPr>
          <p:cNvGraphicFramePr>
            <a:graphicFrameLocks/>
          </p:cNvGraphicFramePr>
          <p:nvPr/>
        </p:nvGraphicFramePr>
        <p:xfrm>
          <a:off x="1889760" y="1200150"/>
          <a:ext cx="8412480" cy="4457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07392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8990F-55A1-75C2-1516-D4E2ED583FC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1907679-610C-1247-BE1D-99D61B434E63}"/>
              </a:ext>
            </a:extLst>
          </p:cNvPr>
          <p:cNvSpPr>
            <a:spLocks noGrp="1"/>
          </p:cNvSpPr>
          <p:nvPr>
            <p:ph type="title"/>
          </p:nvPr>
        </p:nvSpPr>
        <p:spPr/>
        <p:txBody>
          <a:bodyPr/>
          <a:lstStyle/>
          <a:p>
            <a:r>
              <a:rPr lang="en-US" dirty="0"/>
              <a:t>Market performance of Beef Cattle</a:t>
            </a:r>
            <a:endParaRPr lang="en-ZA" dirty="0"/>
          </a:p>
        </p:txBody>
      </p:sp>
      <p:graphicFrame>
        <p:nvGraphicFramePr>
          <p:cNvPr id="3" name="Chart 2">
            <a:extLst>
              <a:ext uri="{FF2B5EF4-FFF2-40B4-BE49-F238E27FC236}">
                <a16:creationId xmlns:a16="http://schemas.microsoft.com/office/drawing/2014/main" id="{EAF6ADB8-3DB3-2057-669D-57486EBF65F6}"/>
              </a:ext>
            </a:extLst>
          </p:cNvPr>
          <p:cNvGraphicFramePr>
            <a:graphicFrameLocks/>
          </p:cNvGraphicFramePr>
          <p:nvPr/>
        </p:nvGraphicFramePr>
        <p:xfrm>
          <a:off x="2002790" y="1215390"/>
          <a:ext cx="8186420" cy="44272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34010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567</TotalTime>
  <Words>268</Words>
  <Application>Microsoft Office PowerPoint</Application>
  <PresentationFormat>Widescreen</PresentationFormat>
  <Paragraphs>59</Paragraphs>
  <Slides>1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Calibri</vt:lpstr>
      <vt:lpstr>Century Gothic</vt:lpstr>
      <vt:lpstr>WCG-PPT Master-121022-amc</vt:lpstr>
      <vt:lpstr>think-cell Slide</vt:lpstr>
      <vt:lpstr>PowerPoint Presentation</vt:lpstr>
      <vt:lpstr>INDEMNITY</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Market performance of Beef Cattle</vt:lpstr>
      <vt:lpstr>SOURCE</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Murdoch, Jacques</cp:lastModifiedBy>
  <cp:revision>1579</cp:revision>
  <cp:lastPrinted>2019-01-28T07:09:01Z</cp:lastPrinted>
  <dcterms:created xsi:type="dcterms:W3CDTF">2017-01-19T08:56:34Z</dcterms:created>
  <dcterms:modified xsi:type="dcterms:W3CDTF">2026-06-05T07:21:13Z</dcterms:modified>
</cp:coreProperties>
</file>